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5" r:id="rId1"/>
  </p:sldMasterIdLst>
  <p:notesMasterIdLst>
    <p:notesMasterId r:id="rId17"/>
  </p:notesMasterIdLst>
  <p:handoutMasterIdLst>
    <p:handoutMasterId r:id="rId18"/>
  </p:handoutMasterIdLst>
  <p:sldIdLst>
    <p:sldId id="310" r:id="rId2"/>
    <p:sldId id="327" r:id="rId3"/>
    <p:sldId id="326" r:id="rId4"/>
    <p:sldId id="311" r:id="rId5"/>
    <p:sldId id="335" r:id="rId6"/>
    <p:sldId id="334" r:id="rId7"/>
    <p:sldId id="328" r:id="rId8"/>
    <p:sldId id="281" r:id="rId9"/>
    <p:sldId id="329" r:id="rId10"/>
    <p:sldId id="319" r:id="rId11"/>
    <p:sldId id="332" r:id="rId12"/>
    <p:sldId id="331" r:id="rId13"/>
    <p:sldId id="330" r:id="rId14"/>
    <p:sldId id="336" r:id="rId15"/>
    <p:sldId id="333" r:id="rId16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14C"/>
    <a:srgbClr val="7F1416"/>
    <a:srgbClr val="459F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23" autoAdjust="0"/>
    <p:restoredTop sz="92074" autoAdjust="0"/>
  </p:normalViewPr>
  <p:slideViewPr>
    <p:cSldViewPr>
      <p:cViewPr varScale="1">
        <p:scale>
          <a:sx n="79" d="100"/>
          <a:sy n="79" d="100"/>
        </p:scale>
        <p:origin x="-1784" y="-1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2" y="2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/>
          <a:lstStyle>
            <a:lvl1pPr algn="r">
              <a:defRPr sz="1300"/>
            </a:lvl1pPr>
          </a:lstStyle>
          <a:p>
            <a:fld id="{12381A15-447F-4DD4-BE92-B6C845C6DFBC}" type="datetimeFigureOut">
              <a:rPr lang="en-GB" smtClean="0"/>
              <a:t>05/12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2" y="9430091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 anchor="b"/>
          <a:lstStyle>
            <a:lvl1pPr algn="r">
              <a:defRPr sz="1300"/>
            </a:lvl1pPr>
          </a:lstStyle>
          <a:p>
            <a:fld id="{6774B565-FA1E-4D79-963C-08C1D37076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60238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2" y="2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/>
          <a:lstStyle>
            <a:lvl1pPr algn="r">
              <a:defRPr sz="1300"/>
            </a:lvl1pPr>
          </a:lstStyle>
          <a:p>
            <a:fld id="{7642051B-1B52-401F-AE1C-323DF4C20EDD}" type="datetimeFigureOut">
              <a:rPr lang="en-GB" smtClean="0"/>
              <a:t>05/12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3" tIns="47782" rIns="95563" bIns="4778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5563" tIns="47782" rIns="95563" bIns="4778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2" y="9430091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 anchor="b"/>
          <a:lstStyle>
            <a:lvl1pPr algn="r">
              <a:defRPr sz="1300"/>
            </a:lvl1pPr>
          </a:lstStyle>
          <a:p>
            <a:fld id="{712D3970-3CF0-432F-B2B8-46278E180B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38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cuments available here: http://www.sheltercluster.org/global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2D3970-3CF0-432F-B2B8-46278E180B3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86618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E765DDF-A07D-43E9-B319-184C07DD0F6A}" type="slidenum">
              <a:rPr lang="de-DE" altLang="en-US">
                <a:latin typeface="Arial" panose="020B0604020202020204" pitchFamily="34" charset="0"/>
              </a:rPr>
              <a:pPr/>
              <a:t>3</a:t>
            </a:fld>
            <a:endParaRPr lang="de-DE" altLang="en-US">
              <a:latin typeface="Arial" panose="020B0604020202020204" pitchFamily="34" charset="0"/>
            </a:endParaRPr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42274232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 smtClean="0"/>
              <a:t>The Global Shelter Cluster is structured in different bodies in a similar way as country-level clusters are structured: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dirty="0" smtClean="0"/>
              <a:t>The </a:t>
            </a:r>
            <a:r>
              <a:rPr lang="en-US" altLang="en-US" b="1" dirty="0" smtClean="0"/>
              <a:t>Strategic Advisory Group </a:t>
            </a:r>
            <a:r>
              <a:rPr lang="en-US" altLang="en-US" dirty="0" smtClean="0"/>
              <a:t>(SAG) is a permanent body that works to advance the cluster’s strategic direction.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dirty="0" smtClean="0"/>
              <a:t>Current SAG members are: ACTED, CARE Int’l, Habitat for Humanity, </a:t>
            </a:r>
            <a:r>
              <a:rPr lang="en-US" altLang="en-US" dirty="0" err="1" smtClean="0"/>
              <a:t>InterAction</a:t>
            </a:r>
            <a:r>
              <a:rPr lang="en-US" altLang="en-US" dirty="0" smtClean="0"/>
              <a:t>, IOM, NRC, Save</a:t>
            </a:r>
            <a:r>
              <a:rPr lang="en-US" altLang="en-US" baseline="0" dirty="0" smtClean="0"/>
              <a:t> the Children Int’l, </a:t>
            </a:r>
            <a:r>
              <a:rPr lang="en-US" altLang="en-US" dirty="0" smtClean="0"/>
              <a:t>UNHABITAT, World Vision Int’l, IFRC, UNHCR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/>
              <a:t>The </a:t>
            </a:r>
            <a:r>
              <a:rPr lang="en-US" altLang="en-US" b="1" dirty="0" smtClean="0"/>
              <a:t>Donor Consultation Group </a:t>
            </a:r>
            <a:r>
              <a:rPr lang="en-US" altLang="en-US" dirty="0" smtClean="0"/>
              <a:t>(DCG) is a consultative body made of self-selected donors that</a:t>
            </a:r>
            <a:r>
              <a:rPr lang="en-US" altLang="en-US" baseline="0" dirty="0" smtClean="0"/>
              <a:t> meets with the SAG once every three months. It is </a:t>
            </a:r>
            <a:r>
              <a:rPr lang="en-US" altLang="en-US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/>
              <a:t>Current DCG members are: DFID,</a:t>
            </a:r>
            <a:r>
              <a:rPr lang="en-US" altLang="en-US" baseline="0" dirty="0" smtClean="0"/>
              <a:t> ECHO and USAID. Additional donors can be invited.</a:t>
            </a:r>
            <a:endParaRPr lang="en-US" altLang="en-US" dirty="0" smtClean="0"/>
          </a:p>
          <a:p>
            <a:pPr eaLnBrk="1" hangingPunct="1">
              <a:spcBef>
                <a:spcPct val="0"/>
              </a:spcBef>
            </a:pPr>
            <a:r>
              <a:rPr lang="en-US" altLang="en-US" dirty="0" smtClean="0"/>
              <a:t>The </a:t>
            </a:r>
            <a:r>
              <a:rPr lang="en-US" altLang="en-US" b="1" dirty="0" smtClean="0"/>
              <a:t>Working Groups </a:t>
            </a:r>
            <a:r>
              <a:rPr lang="en-US" altLang="en-US" dirty="0" smtClean="0"/>
              <a:t>(WG) are created to address a certain gap and they disappear once that the gap is addressed: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dirty="0" smtClean="0"/>
              <a:t>WGs in 2016: Cash WG, Shelter</a:t>
            </a:r>
            <a:r>
              <a:rPr lang="en-US" altLang="en-US" baseline="0" dirty="0" smtClean="0"/>
              <a:t> Projects WG, Building Practices WG, Shelter and GBV WG</a:t>
            </a:r>
            <a:endParaRPr lang="en-US" altLang="en-US" dirty="0" smtClean="0"/>
          </a:p>
          <a:p>
            <a:pPr eaLnBrk="1" hangingPunct="1">
              <a:spcBef>
                <a:spcPct val="0"/>
              </a:spcBef>
            </a:pPr>
            <a:r>
              <a:rPr lang="en-US" altLang="en-US" dirty="0" smtClean="0"/>
              <a:t>The </a:t>
            </a:r>
            <a:r>
              <a:rPr lang="en-US" altLang="en-US" b="1" dirty="0" smtClean="0"/>
              <a:t>Communities of Practice </a:t>
            </a:r>
            <a:r>
              <a:rPr lang="en-US" altLang="en-US" dirty="0" smtClean="0"/>
              <a:t>gather people that are interested in certain areas of work such as coordination, information management, environment.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dirty="0" smtClean="0"/>
              <a:t>The </a:t>
            </a:r>
            <a:r>
              <a:rPr lang="en-US" altLang="en-US" b="1" dirty="0" smtClean="0"/>
              <a:t>Support Team</a:t>
            </a:r>
            <a:r>
              <a:rPr lang="en-US" altLang="en-US" dirty="0" smtClean="0"/>
              <a:t> is the Secretariat of the GSC and it is responsible for the day-to-day running of the cluster. We will talk a bit more about it later.</a:t>
            </a:r>
          </a:p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2B9B1A86-DBDC-483C-B36D-C5A61A1E73A9}" type="slidenum">
              <a:rPr lang="en-US" altLang="en-US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5</a:t>
            </a:fld>
            <a:endParaRPr lang="en-US" alt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00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 smtClean="0"/>
              <a:t>More on what this team does can be found</a:t>
            </a:r>
            <a:r>
              <a:rPr lang="en-US" altLang="en-US" baseline="0" dirty="0" smtClean="0"/>
              <a:t> here:</a:t>
            </a:r>
          </a:p>
          <a:p>
            <a:pPr marL="171450" indent="-171450">
              <a:buFontTx/>
              <a:buChar char="-"/>
            </a:pPr>
            <a:r>
              <a:rPr lang="en-US" altLang="en-US" baseline="0" dirty="0" smtClean="0"/>
              <a:t>http://sheltercluster.org/what_we_do </a:t>
            </a:r>
          </a:p>
          <a:p>
            <a:pPr marL="171450" indent="-171450">
              <a:buFontTx/>
              <a:buChar char="-"/>
            </a:pPr>
            <a:r>
              <a:rPr lang="en-US" altLang="en-US" dirty="0" smtClean="0"/>
              <a:t>http://www.sheltercluster.org/global_support_team_activities</a:t>
            </a:r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FD635112-B856-482A-AF34-59232BEF459F}" type="slidenum">
              <a:rPr lang="en-US" altLang="en-US"/>
              <a:pPr/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41667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 err="1" smtClean="0"/>
              <a:t>Each</a:t>
            </a:r>
            <a:r>
              <a:rPr lang="fr-CH" dirty="0" smtClean="0"/>
              <a:t> of the </a:t>
            </a:r>
            <a:r>
              <a:rPr lang="fr-CH" dirty="0" err="1" smtClean="0"/>
              <a:t>GFPs</a:t>
            </a:r>
            <a:r>
              <a:rPr lang="fr-CH" baseline="0" dirty="0" smtClean="0"/>
              <a:t> </a:t>
            </a:r>
            <a:r>
              <a:rPr lang="fr-CH" baseline="0" dirty="0" err="1" smtClean="0"/>
              <a:t>introduces</a:t>
            </a:r>
            <a:r>
              <a:rPr lang="fr-CH" baseline="0" dirty="0" smtClean="0"/>
              <a:t> </a:t>
            </a:r>
            <a:r>
              <a:rPr lang="fr-CH" baseline="0" dirty="0" err="1" smtClean="0"/>
              <a:t>him</a:t>
            </a:r>
            <a:r>
              <a:rPr lang="fr-CH" baseline="0" dirty="0" smtClean="0"/>
              <a:t>/</a:t>
            </a:r>
            <a:r>
              <a:rPr lang="fr-CH" baseline="0" dirty="0" err="1" smtClean="0"/>
              <a:t>herself</a:t>
            </a:r>
            <a:r>
              <a:rPr lang="fr-CH" baseline="0" dirty="0" smtClean="0"/>
              <a:t> and </a:t>
            </a:r>
            <a:r>
              <a:rPr lang="fr-CH" baseline="0" dirty="0" err="1" smtClean="0"/>
              <a:t>where</a:t>
            </a:r>
            <a:r>
              <a:rPr lang="fr-CH" baseline="0" dirty="0" smtClean="0"/>
              <a:t> has bee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2D3970-3CF0-432F-B2B8-46278E180B3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4692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988840"/>
            <a:ext cx="7772400" cy="1470025"/>
          </a:xfrm>
        </p:spPr>
        <p:txBody>
          <a:bodyPr anchor="b">
            <a:normAutofit/>
          </a:bodyPr>
          <a:lstStyle>
            <a:lvl1pPr>
              <a:defRPr sz="4000" baseline="0">
                <a:solidFill>
                  <a:srgbClr val="7F1416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14192"/>
            <a:ext cx="6400800" cy="127099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subtit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0" y="-39688"/>
            <a:ext cx="9144000" cy="7286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8" name="Picture 16" descr="GSC-ExistingLogo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138" y="222250"/>
            <a:ext cx="1703387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4257675" y="3571533"/>
            <a:ext cx="628650" cy="130175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74266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39823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16918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6189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021288"/>
            <a:ext cx="9144000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116632"/>
            <a:ext cx="9144000" cy="66247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34404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7281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141413"/>
            <a:ext cx="8348663" cy="50165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srgbClr val="8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141413"/>
            <a:ext cx="7953127" cy="501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5908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30993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141412"/>
            <a:ext cx="8348663" cy="775419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srgbClr val="8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536" y="1141412"/>
            <a:ext cx="7953127" cy="775419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a very </a:t>
            </a:r>
            <a:r>
              <a:rPr lang="en-US" dirty="0" err="1" smtClean="0"/>
              <a:t>very</a:t>
            </a:r>
            <a:r>
              <a:rPr lang="en-US" dirty="0" smtClean="0"/>
              <a:t> long title Master title style</a:t>
            </a:r>
            <a:endParaRPr lang="en-GB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1876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3142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1134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134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0" y="1141413"/>
            <a:ext cx="8348663" cy="50165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srgbClr val="8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34145"/>
            <a:ext cx="7881119" cy="5089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4281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827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358032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71827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358032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0" y="1141413"/>
            <a:ext cx="8348663" cy="50165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srgbClr val="8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23504"/>
            <a:ext cx="7881119" cy="5089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4260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9043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0535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5304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5089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7" name="Date Placeholder 2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CD667A46-D55B-4354-9EBD-9A468F803C8C}" type="datetimeFigureOut">
              <a:rPr lang="en-US" smtClean="0"/>
              <a:pPr>
                <a:defRPr/>
              </a:pPr>
              <a:t>05/12/2016</a:t>
            </a:fld>
            <a:endParaRPr lang="en-US" dirty="0"/>
          </a:p>
        </p:txBody>
      </p:sp>
      <p:sp>
        <p:nvSpPr>
          <p:cNvPr id="1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25F72B-7E20-4902-A6CC-89EA8820337E}" type="slidenum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-36512" y="0"/>
            <a:ext cx="9220200" cy="104775"/>
          </a:xfrm>
          <a:prstGeom prst="rect">
            <a:avLst/>
          </a:prstGeom>
          <a:solidFill>
            <a:srgbClr val="6883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-36512" y="6757988"/>
            <a:ext cx="9220200" cy="106362"/>
          </a:xfrm>
          <a:prstGeom prst="rect">
            <a:avLst/>
          </a:prstGeom>
          <a:solidFill>
            <a:srgbClr val="6883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23" name="Picture 6" descr="GSC-ExistingLogo.jpg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6063" y="244475"/>
            <a:ext cx="1992312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7314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</p:sldLayoutIdLst>
  <p:timing>
    <p:tnLst>
      <p:par>
        <p:cTn xmlns:p14="http://schemas.microsoft.com/office/powerpoint/2010/main" id="1" dur="indefinite" restart="never" nodeType="tmRoot"/>
      </p:par>
    </p:tnLst>
  </p:timing>
  <p:hf hdr="0" ftr="0"/>
  <p:txStyles>
    <p:titleStyle>
      <a:lvl1pPr algn="ctr" defTabSz="914400" rtl="0" eaLnBrk="1" latinLnBrk="0" hangingPunct="1">
        <a:spcBef>
          <a:spcPct val="0"/>
        </a:spcBef>
        <a:buNone/>
        <a:defRPr sz="2800" b="1" kern="1200">
          <a:solidFill>
            <a:srgbClr val="04314C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7F1416"/>
        </a:buClr>
        <a:buFont typeface="Wingdings" pitchFamily="2" charset="2"/>
        <a:buChar char="§"/>
        <a:defRPr sz="3200" kern="1200">
          <a:solidFill>
            <a:srgbClr val="04314C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7F1416"/>
        </a:buClr>
        <a:buFont typeface="Arial" pitchFamily="34" charset="0"/>
        <a:buChar char="–"/>
        <a:defRPr sz="2800" kern="1200">
          <a:solidFill>
            <a:srgbClr val="04314C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7F1416"/>
        </a:buClr>
        <a:buFont typeface="Arial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7F1416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7F1416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png"/><Relationship Id="rId3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5" Type="http://schemas.openxmlformats.org/officeDocument/2006/relationships/image" Target="../media/image33.png"/><Relationship Id="rId6" Type="http://schemas.openxmlformats.org/officeDocument/2006/relationships/image" Target="../media/image34.png"/><Relationship Id="rId7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6.png"/><Relationship Id="rId3" Type="http://schemas.openxmlformats.org/officeDocument/2006/relationships/hyperlink" Target="http://www.sheltercluster.or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170" Type="http://schemas.openxmlformats.org/officeDocument/2006/relationships/tags" Target="../tags/tag170.xml"/><Relationship Id="rId171" Type="http://schemas.openxmlformats.org/officeDocument/2006/relationships/tags" Target="../tags/tag171.xml"/><Relationship Id="rId172" Type="http://schemas.openxmlformats.org/officeDocument/2006/relationships/tags" Target="../tags/tag172.xml"/><Relationship Id="rId173" Type="http://schemas.openxmlformats.org/officeDocument/2006/relationships/tags" Target="../tags/tag173.xml"/><Relationship Id="rId174" Type="http://schemas.openxmlformats.org/officeDocument/2006/relationships/tags" Target="../tags/tag174.xml"/><Relationship Id="rId175" Type="http://schemas.openxmlformats.org/officeDocument/2006/relationships/tags" Target="../tags/tag175.xml"/><Relationship Id="rId176" Type="http://schemas.openxmlformats.org/officeDocument/2006/relationships/tags" Target="../tags/tag176.xml"/><Relationship Id="rId177" Type="http://schemas.openxmlformats.org/officeDocument/2006/relationships/tags" Target="../tags/tag177.xml"/><Relationship Id="rId178" Type="http://schemas.openxmlformats.org/officeDocument/2006/relationships/tags" Target="../tags/tag178.xml"/><Relationship Id="rId179" Type="http://schemas.openxmlformats.org/officeDocument/2006/relationships/tags" Target="../tags/tag179.xml"/><Relationship Id="rId230" Type="http://schemas.openxmlformats.org/officeDocument/2006/relationships/tags" Target="../tags/tag230.xml"/><Relationship Id="rId231" Type="http://schemas.openxmlformats.org/officeDocument/2006/relationships/tags" Target="../tags/tag231.xml"/><Relationship Id="rId232" Type="http://schemas.openxmlformats.org/officeDocument/2006/relationships/tags" Target="../tags/tag232.xml"/><Relationship Id="rId233" Type="http://schemas.openxmlformats.org/officeDocument/2006/relationships/tags" Target="../tags/tag233.xml"/><Relationship Id="rId234" Type="http://schemas.openxmlformats.org/officeDocument/2006/relationships/tags" Target="../tags/tag234.xml"/><Relationship Id="rId235" Type="http://schemas.openxmlformats.org/officeDocument/2006/relationships/tags" Target="../tags/tag235.xml"/><Relationship Id="rId236" Type="http://schemas.openxmlformats.org/officeDocument/2006/relationships/tags" Target="../tags/tag236.xml"/><Relationship Id="rId237" Type="http://schemas.openxmlformats.org/officeDocument/2006/relationships/tags" Target="../tags/tag237.xml"/><Relationship Id="rId238" Type="http://schemas.openxmlformats.org/officeDocument/2006/relationships/tags" Target="../tags/tag238.xml"/><Relationship Id="rId239" Type="http://schemas.openxmlformats.org/officeDocument/2006/relationships/tags" Target="../tags/tag239.xml"/><Relationship Id="rId30" Type="http://schemas.openxmlformats.org/officeDocument/2006/relationships/tags" Target="../tags/tag30.xml"/><Relationship Id="rId31" Type="http://schemas.openxmlformats.org/officeDocument/2006/relationships/tags" Target="../tags/tag31.xml"/><Relationship Id="rId32" Type="http://schemas.openxmlformats.org/officeDocument/2006/relationships/tags" Target="../tags/tag32.xml"/><Relationship Id="rId33" Type="http://schemas.openxmlformats.org/officeDocument/2006/relationships/tags" Target="../tags/tag33.xml"/><Relationship Id="rId34" Type="http://schemas.openxmlformats.org/officeDocument/2006/relationships/tags" Target="../tags/tag34.xml"/><Relationship Id="rId35" Type="http://schemas.openxmlformats.org/officeDocument/2006/relationships/tags" Target="../tags/tag35.xml"/><Relationship Id="rId36" Type="http://schemas.openxmlformats.org/officeDocument/2006/relationships/tags" Target="../tags/tag36.xml"/><Relationship Id="rId37" Type="http://schemas.openxmlformats.org/officeDocument/2006/relationships/tags" Target="../tags/tag37.xml"/><Relationship Id="rId38" Type="http://schemas.openxmlformats.org/officeDocument/2006/relationships/tags" Target="../tags/tag38.xml"/><Relationship Id="rId39" Type="http://schemas.openxmlformats.org/officeDocument/2006/relationships/tags" Target="../tags/tag39.xml"/><Relationship Id="rId180" Type="http://schemas.openxmlformats.org/officeDocument/2006/relationships/tags" Target="../tags/tag180.xml"/><Relationship Id="rId181" Type="http://schemas.openxmlformats.org/officeDocument/2006/relationships/tags" Target="../tags/tag181.xml"/><Relationship Id="rId182" Type="http://schemas.openxmlformats.org/officeDocument/2006/relationships/tags" Target="../tags/tag182.xml"/><Relationship Id="rId183" Type="http://schemas.openxmlformats.org/officeDocument/2006/relationships/tags" Target="../tags/tag183.xml"/><Relationship Id="rId184" Type="http://schemas.openxmlformats.org/officeDocument/2006/relationships/tags" Target="../tags/tag184.xml"/><Relationship Id="rId185" Type="http://schemas.openxmlformats.org/officeDocument/2006/relationships/tags" Target="../tags/tag185.xml"/><Relationship Id="rId186" Type="http://schemas.openxmlformats.org/officeDocument/2006/relationships/tags" Target="../tags/tag186.xml"/><Relationship Id="rId187" Type="http://schemas.openxmlformats.org/officeDocument/2006/relationships/tags" Target="../tags/tag187.xml"/><Relationship Id="rId188" Type="http://schemas.openxmlformats.org/officeDocument/2006/relationships/tags" Target="../tags/tag188.xml"/><Relationship Id="rId189" Type="http://schemas.openxmlformats.org/officeDocument/2006/relationships/tags" Target="../tags/tag189.xml"/><Relationship Id="rId240" Type="http://schemas.openxmlformats.org/officeDocument/2006/relationships/tags" Target="../tags/tag240.xml"/><Relationship Id="rId241" Type="http://schemas.openxmlformats.org/officeDocument/2006/relationships/tags" Target="../tags/tag241.xml"/><Relationship Id="rId242" Type="http://schemas.openxmlformats.org/officeDocument/2006/relationships/tags" Target="../tags/tag242.xml"/><Relationship Id="rId243" Type="http://schemas.openxmlformats.org/officeDocument/2006/relationships/tags" Target="../tags/tag243.xml"/><Relationship Id="rId244" Type="http://schemas.openxmlformats.org/officeDocument/2006/relationships/tags" Target="../tags/tag244.xml"/><Relationship Id="rId245" Type="http://schemas.openxmlformats.org/officeDocument/2006/relationships/tags" Target="../tags/tag245.xml"/><Relationship Id="rId246" Type="http://schemas.openxmlformats.org/officeDocument/2006/relationships/tags" Target="../tags/tag246.xml"/><Relationship Id="rId247" Type="http://schemas.openxmlformats.org/officeDocument/2006/relationships/tags" Target="../tags/tag247.xml"/><Relationship Id="rId248" Type="http://schemas.openxmlformats.org/officeDocument/2006/relationships/tags" Target="../tags/tag248.xml"/><Relationship Id="rId249" Type="http://schemas.openxmlformats.org/officeDocument/2006/relationships/tags" Target="../tags/tag249.xml"/><Relationship Id="rId300" Type="http://schemas.openxmlformats.org/officeDocument/2006/relationships/tags" Target="../tags/tag300.xml"/><Relationship Id="rId301" Type="http://schemas.openxmlformats.org/officeDocument/2006/relationships/tags" Target="../tags/tag301.xml"/><Relationship Id="rId302" Type="http://schemas.openxmlformats.org/officeDocument/2006/relationships/tags" Target="../tags/tag302.xml"/><Relationship Id="rId303" Type="http://schemas.openxmlformats.org/officeDocument/2006/relationships/tags" Target="../tags/tag303.xml"/><Relationship Id="rId304" Type="http://schemas.openxmlformats.org/officeDocument/2006/relationships/tags" Target="../tags/tag304.xml"/><Relationship Id="rId305" Type="http://schemas.openxmlformats.org/officeDocument/2006/relationships/tags" Target="../tags/tag305.xml"/><Relationship Id="rId306" Type="http://schemas.openxmlformats.org/officeDocument/2006/relationships/tags" Target="../tags/tag306.xml"/><Relationship Id="rId307" Type="http://schemas.openxmlformats.org/officeDocument/2006/relationships/tags" Target="../tags/tag307.xml"/><Relationship Id="rId308" Type="http://schemas.openxmlformats.org/officeDocument/2006/relationships/tags" Target="../tags/tag308.xml"/><Relationship Id="rId309" Type="http://schemas.openxmlformats.org/officeDocument/2006/relationships/tags" Target="../tags/tag309.xml"/><Relationship Id="rId40" Type="http://schemas.openxmlformats.org/officeDocument/2006/relationships/tags" Target="../tags/tag40.xml"/><Relationship Id="rId41" Type="http://schemas.openxmlformats.org/officeDocument/2006/relationships/tags" Target="../tags/tag41.xml"/><Relationship Id="rId42" Type="http://schemas.openxmlformats.org/officeDocument/2006/relationships/tags" Target="../tags/tag42.xml"/><Relationship Id="rId43" Type="http://schemas.openxmlformats.org/officeDocument/2006/relationships/tags" Target="../tags/tag43.xml"/><Relationship Id="rId44" Type="http://schemas.openxmlformats.org/officeDocument/2006/relationships/tags" Target="../tags/tag44.xml"/><Relationship Id="rId45" Type="http://schemas.openxmlformats.org/officeDocument/2006/relationships/tags" Target="../tags/tag45.xml"/><Relationship Id="rId46" Type="http://schemas.openxmlformats.org/officeDocument/2006/relationships/tags" Target="../tags/tag46.xml"/><Relationship Id="rId47" Type="http://schemas.openxmlformats.org/officeDocument/2006/relationships/tags" Target="../tags/tag47.xml"/><Relationship Id="rId48" Type="http://schemas.openxmlformats.org/officeDocument/2006/relationships/tags" Target="../tags/tag48.xml"/><Relationship Id="rId49" Type="http://schemas.openxmlformats.org/officeDocument/2006/relationships/tags" Target="../tags/tag49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190" Type="http://schemas.openxmlformats.org/officeDocument/2006/relationships/tags" Target="../tags/tag190.xml"/><Relationship Id="rId191" Type="http://schemas.openxmlformats.org/officeDocument/2006/relationships/tags" Target="../tags/tag191.xml"/><Relationship Id="rId192" Type="http://schemas.openxmlformats.org/officeDocument/2006/relationships/tags" Target="../tags/tag192.xml"/><Relationship Id="rId193" Type="http://schemas.openxmlformats.org/officeDocument/2006/relationships/tags" Target="../tags/tag193.xml"/><Relationship Id="rId194" Type="http://schemas.openxmlformats.org/officeDocument/2006/relationships/tags" Target="../tags/tag194.xml"/><Relationship Id="rId195" Type="http://schemas.openxmlformats.org/officeDocument/2006/relationships/tags" Target="../tags/tag195.xml"/><Relationship Id="rId196" Type="http://schemas.openxmlformats.org/officeDocument/2006/relationships/tags" Target="../tags/tag196.xml"/><Relationship Id="rId197" Type="http://schemas.openxmlformats.org/officeDocument/2006/relationships/tags" Target="../tags/tag197.xml"/><Relationship Id="rId198" Type="http://schemas.openxmlformats.org/officeDocument/2006/relationships/tags" Target="../tags/tag198.xml"/><Relationship Id="rId199" Type="http://schemas.openxmlformats.org/officeDocument/2006/relationships/tags" Target="../tags/tag199.xml"/><Relationship Id="rId250" Type="http://schemas.openxmlformats.org/officeDocument/2006/relationships/tags" Target="../tags/tag250.xml"/><Relationship Id="rId251" Type="http://schemas.openxmlformats.org/officeDocument/2006/relationships/tags" Target="../tags/tag251.xml"/><Relationship Id="rId252" Type="http://schemas.openxmlformats.org/officeDocument/2006/relationships/tags" Target="../tags/tag252.xml"/><Relationship Id="rId253" Type="http://schemas.openxmlformats.org/officeDocument/2006/relationships/tags" Target="../tags/tag253.xml"/><Relationship Id="rId254" Type="http://schemas.openxmlformats.org/officeDocument/2006/relationships/tags" Target="../tags/tag254.xml"/><Relationship Id="rId255" Type="http://schemas.openxmlformats.org/officeDocument/2006/relationships/tags" Target="../tags/tag255.xml"/><Relationship Id="rId256" Type="http://schemas.openxmlformats.org/officeDocument/2006/relationships/tags" Target="../tags/tag256.xml"/><Relationship Id="rId257" Type="http://schemas.openxmlformats.org/officeDocument/2006/relationships/tags" Target="../tags/tag257.xml"/><Relationship Id="rId258" Type="http://schemas.openxmlformats.org/officeDocument/2006/relationships/tags" Target="../tags/tag258.xml"/><Relationship Id="rId259" Type="http://schemas.openxmlformats.org/officeDocument/2006/relationships/tags" Target="../tags/tag259.xml"/><Relationship Id="rId310" Type="http://schemas.openxmlformats.org/officeDocument/2006/relationships/tags" Target="../tags/tag310.xml"/><Relationship Id="rId311" Type="http://schemas.openxmlformats.org/officeDocument/2006/relationships/tags" Target="../tags/tag311.xml"/><Relationship Id="rId312" Type="http://schemas.openxmlformats.org/officeDocument/2006/relationships/tags" Target="../tags/tag312.xml"/><Relationship Id="rId313" Type="http://schemas.openxmlformats.org/officeDocument/2006/relationships/tags" Target="../tags/tag313.xml"/><Relationship Id="rId314" Type="http://schemas.openxmlformats.org/officeDocument/2006/relationships/tags" Target="../tags/tag314.xml"/><Relationship Id="rId315" Type="http://schemas.openxmlformats.org/officeDocument/2006/relationships/tags" Target="../tags/tag315.xml"/><Relationship Id="rId316" Type="http://schemas.openxmlformats.org/officeDocument/2006/relationships/tags" Target="../tags/tag316.xml"/><Relationship Id="rId317" Type="http://schemas.openxmlformats.org/officeDocument/2006/relationships/tags" Target="../tags/tag317.xml"/><Relationship Id="rId318" Type="http://schemas.openxmlformats.org/officeDocument/2006/relationships/tags" Target="../tags/tag318.xml"/><Relationship Id="rId319" Type="http://schemas.openxmlformats.org/officeDocument/2006/relationships/tags" Target="../tags/tag319.xml"/><Relationship Id="rId50" Type="http://schemas.openxmlformats.org/officeDocument/2006/relationships/tags" Target="../tags/tag50.xml"/><Relationship Id="rId51" Type="http://schemas.openxmlformats.org/officeDocument/2006/relationships/tags" Target="../tags/tag51.xml"/><Relationship Id="rId52" Type="http://schemas.openxmlformats.org/officeDocument/2006/relationships/tags" Target="../tags/tag52.xml"/><Relationship Id="rId53" Type="http://schemas.openxmlformats.org/officeDocument/2006/relationships/tags" Target="../tags/tag53.xml"/><Relationship Id="rId54" Type="http://schemas.openxmlformats.org/officeDocument/2006/relationships/tags" Target="../tags/tag54.xml"/><Relationship Id="rId55" Type="http://schemas.openxmlformats.org/officeDocument/2006/relationships/tags" Target="../tags/tag55.xml"/><Relationship Id="rId56" Type="http://schemas.openxmlformats.org/officeDocument/2006/relationships/tags" Target="../tags/tag56.xml"/><Relationship Id="rId57" Type="http://schemas.openxmlformats.org/officeDocument/2006/relationships/tags" Target="../tags/tag57.xml"/><Relationship Id="rId58" Type="http://schemas.openxmlformats.org/officeDocument/2006/relationships/tags" Target="../tags/tag58.xml"/><Relationship Id="rId59" Type="http://schemas.openxmlformats.org/officeDocument/2006/relationships/tags" Target="../tags/tag59.xml"/><Relationship Id="rId260" Type="http://schemas.openxmlformats.org/officeDocument/2006/relationships/tags" Target="../tags/tag260.xml"/><Relationship Id="rId261" Type="http://schemas.openxmlformats.org/officeDocument/2006/relationships/tags" Target="../tags/tag261.xml"/><Relationship Id="rId262" Type="http://schemas.openxmlformats.org/officeDocument/2006/relationships/tags" Target="../tags/tag262.xml"/><Relationship Id="rId263" Type="http://schemas.openxmlformats.org/officeDocument/2006/relationships/tags" Target="../tags/tag263.xml"/><Relationship Id="rId264" Type="http://schemas.openxmlformats.org/officeDocument/2006/relationships/tags" Target="../tags/tag264.xml"/><Relationship Id="rId265" Type="http://schemas.openxmlformats.org/officeDocument/2006/relationships/tags" Target="../tags/tag265.xml"/><Relationship Id="rId266" Type="http://schemas.openxmlformats.org/officeDocument/2006/relationships/tags" Target="../tags/tag266.xml"/><Relationship Id="rId267" Type="http://schemas.openxmlformats.org/officeDocument/2006/relationships/tags" Target="../tags/tag267.xml"/><Relationship Id="rId268" Type="http://schemas.openxmlformats.org/officeDocument/2006/relationships/tags" Target="../tags/tag268.xml"/><Relationship Id="rId269" Type="http://schemas.openxmlformats.org/officeDocument/2006/relationships/tags" Target="../tags/tag269.xml"/><Relationship Id="rId320" Type="http://schemas.openxmlformats.org/officeDocument/2006/relationships/tags" Target="../tags/tag320.xml"/><Relationship Id="rId321" Type="http://schemas.openxmlformats.org/officeDocument/2006/relationships/tags" Target="../tags/tag321.xml"/><Relationship Id="rId322" Type="http://schemas.openxmlformats.org/officeDocument/2006/relationships/tags" Target="../tags/tag322.xml"/><Relationship Id="rId323" Type="http://schemas.openxmlformats.org/officeDocument/2006/relationships/tags" Target="../tags/tag323.xml"/><Relationship Id="rId324" Type="http://schemas.openxmlformats.org/officeDocument/2006/relationships/tags" Target="../tags/tag324.xml"/><Relationship Id="rId325" Type="http://schemas.openxmlformats.org/officeDocument/2006/relationships/tags" Target="../tags/tag325.xml"/><Relationship Id="rId326" Type="http://schemas.openxmlformats.org/officeDocument/2006/relationships/tags" Target="../tags/tag326.xml"/><Relationship Id="rId327" Type="http://schemas.openxmlformats.org/officeDocument/2006/relationships/tags" Target="../tags/tag327.xml"/><Relationship Id="rId328" Type="http://schemas.openxmlformats.org/officeDocument/2006/relationships/tags" Target="../tags/tag328.xml"/><Relationship Id="rId329" Type="http://schemas.openxmlformats.org/officeDocument/2006/relationships/tags" Target="../tags/tag329.xml"/><Relationship Id="rId100" Type="http://schemas.openxmlformats.org/officeDocument/2006/relationships/tags" Target="../tags/tag100.xml"/><Relationship Id="rId101" Type="http://schemas.openxmlformats.org/officeDocument/2006/relationships/tags" Target="../tags/tag101.xml"/><Relationship Id="rId102" Type="http://schemas.openxmlformats.org/officeDocument/2006/relationships/tags" Target="../tags/tag102.xml"/><Relationship Id="rId103" Type="http://schemas.openxmlformats.org/officeDocument/2006/relationships/tags" Target="../tags/tag103.xml"/><Relationship Id="rId104" Type="http://schemas.openxmlformats.org/officeDocument/2006/relationships/tags" Target="../tags/tag104.xml"/><Relationship Id="rId105" Type="http://schemas.openxmlformats.org/officeDocument/2006/relationships/tags" Target="../tags/tag105.xml"/><Relationship Id="rId106" Type="http://schemas.openxmlformats.org/officeDocument/2006/relationships/tags" Target="../tags/tag106.xml"/><Relationship Id="rId107" Type="http://schemas.openxmlformats.org/officeDocument/2006/relationships/tags" Target="../tags/tag107.xml"/><Relationship Id="rId108" Type="http://schemas.openxmlformats.org/officeDocument/2006/relationships/tags" Target="../tags/tag108.xml"/><Relationship Id="rId109" Type="http://schemas.openxmlformats.org/officeDocument/2006/relationships/tags" Target="../tags/tag109.xml"/><Relationship Id="rId60" Type="http://schemas.openxmlformats.org/officeDocument/2006/relationships/tags" Target="../tags/tag60.xml"/><Relationship Id="rId61" Type="http://schemas.openxmlformats.org/officeDocument/2006/relationships/tags" Target="../tags/tag61.xml"/><Relationship Id="rId62" Type="http://schemas.openxmlformats.org/officeDocument/2006/relationships/tags" Target="../tags/tag62.xml"/><Relationship Id="rId63" Type="http://schemas.openxmlformats.org/officeDocument/2006/relationships/tags" Target="../tags/tag63.xml"/><Relationship Id="rId64" Type="http://schemas.openxmlformats.org/officeDocument/2006/relationships/tags" Target="../tags/tag64.xml"/><Relationship Id="rId65" Type="http://schemas.openxmlformats.org/officeDocument/2006/relationships/tags" Target="../tags/tag65.xml"/><Relationship Id="rId66" Type="http://schemas.openxmlformats.org/officeDocument/2006/relationships/tags" Target="../tags/tag66.xml"/><Relationship Id="rId67" Type="http://schemas.openxmlformats.org/officeDocument/2006/relationships/tags" Target="../tags/tag67.xml"/><Relationship Id="rId68" Type="http://schemas.openxmlformats.org/officeDocument/2006/relationships/tags" Target="../tags/tag68.xml"/><Relationship Id="rId69" Type="http://schemas.openxmlformats.org/officeDocument/2006/relationships/tags" Target="../tags/tag69.xml"/><Relationship Id="rId270" Type="http://schemas.openxmlformats.org/officeDocument/2006/relationships/tags" Target="../tags/tag270.xml"/><Relationship Id="rId271" Type="http://schemas.openxmlformats.org/officeDocument/2006/relationships/tags" Target="../tags/tag271.xml"/><Relationship Id="rId272" Type="http://schemas.openxmlformats.org/officeDocument/2006/relationships/tags" Target="../tags/tag272.xml"/><Relationship Id="rId273" Type="http://schemas.openxmlformats.org/officeDocument/2006/relationships/tags" Target="../tags/tag273.xml"/><Relationship Id="rId274" Type="http://schemas.openxmlformats.org/officeDocument/2006/relationships/tags" Target="../tags/tag274.xml"/><Relationship Id="rId275" Type="http://schemas.openxmlformats.org/officeDocument/2006/relationships/tags" Target="../tags/tag275.xml"/><Relationship Id="rId276" Type="http://schemas.openxmlformats.org/officeDocument/2006/relationships/tags" Target="../tags/tag276.xml"/><Relationship Id="rId277" Type="http://schemas.openxmlformats.org/officeDocument/2006/relationships/tags" Target="../tags/tag277.xml"/><Relationship Id="rId278" Type="http://schemas.openxmlformats.org/officeDocument/2006/relationships/tags" Target="../tags/tag278.xml"/><Relationship Id="rId279" Type="http://schemas.openxmlformats.org/officeDocument/2006/relationships/tags" Target="../tags/tag279.xml"/><Relationship Id="rId330" Type="http://schemas.openxmlformats.org/officeDocument/2006/relationships/tags" Target="../tags/tag330.xml"/><Relationship Id="rId331" Type="http://schemas.openxmlformats.org/officeDocument/2006/relationships/tags" Target="../tags/tag331.xml"/><Relationship Id="rId332" Type="http://schemas.openxmlformats.org/officeDocument/2006/relationships/tags" Target="../tags/tag332.xml"/><Relationship Id="rId333" Type="http://schemas.openxmlformats.org/officeDocument/2006/relationships/tags" Target="../tags/tag333.xml"/><Relationship Id="rId334" Type="http://schemas.openxmlformats.org/officeDocument/2006/relationships/tags" Target="../tags/tag334.xml"/><Relationship Id="rId335" Type="http://schemas.openxmlformats.org/officeDocument/2006/relationships/tags" Target="../tags/tag335.xml"/><Relationship Id="rId336" Type="http://schemas.openxmlformats.org/officeDocument/2006/relationships/tags" Target="../tags/tag336.xml"/><Relationship Id="rId337" Type="http://schemas.openxmlformats.org/officeDocument/2006/relationships/tags" Target="../tags/tag337.xml"/><Relationship Id="rId338" Type="http://schemas.openxmlformats.org/officeDocument/2006/relationships/tags" Target="../tags/tag338.xml"/><Relationship Id="rId339" Type="http://schemas.openxmlformats.org/officeDocument/2006/relationships/tags" Target="../tags/tag339.xml"/><Relationship Id="rId110" Type="http://schemas.openxmlformats.org/officeDocument/2006/relationships/tags" Target="../tags/tag110.xml"/><Relationship Id="rId111" Type="http://schemas.openxmlformats.org/officeDocument/2006/relationships/tags" Target="../tags/tag111.xml"/><Relationship Id="rId112" Type="http://schemas.openxmlformats.org/officeDocument/2006/relationships/tags" Target="../tags/tag112.xml"/><Relationship Id="rId113" Type="http://schemas.openxmlformats.org/officeDocument/2006/relationships/tags" Target="../tags/tag113.xml"/><Relationship Id="rId114" Type="http://schemas.openxmlformats.org/officeDocument/2006/relationships/tags" Target="../tags/tag114.xml"/><Relationship Id="rId115" Type="http://schemas.openxmlformats.org/officeDocument/2006/relationships/tags" Target="../tags/tag115.xml"/><Relationship Id="rId70" Type="http://schemas.openxmlformats.org/officeDocument/2006/relationships/tags" Target="../tags/tag70.xml"/><Relationship Id="rId71" Type="http://schemas.openxmlformats.org/officeDocument/2006/relationships/tags" Target="../tags/tag71.xml"/><Relationship Id="rId72" Type="http://schemas.openxmlformats.org/officeDocument/2006/relationships/tags" Target="../tags/tag72.xml"/><Relationship Id="rId73" Type="http://schemas.openxmlformats.org/officeDocument/2006/relationships/tags" Target="../tags/tag73.xml"/><Relationship Id="rId74" Type="http://schemas.openxmlformats.org/officeDocument/2006/relationships/tags" Target="../tags/tag74.xml"/><Relationship Id="rId75" Type="http://schemas.openxmlformats.org/officeDocument/2006/relationships/tags" Target="../tags/tag75.xml"/><Relationship Id="rId76" Type="http://schemas.openxmlformats.org/officeDocument/2006/relationships/tags" Target="../tags/tag76.xml"/><Relationship Id="rId77" Type="http://schemas.openxmlformats.org/officeDocument/2006/relationships/tags" Target="../tags/tag77.xml"/><Relationship Id="rId78" Type="http://schemas.openxmlformats.org/officeDocument/2006/relationships/tags" Target="../tags/tag78.xml"/><Relationship Id="rId79" Type="http://schemas.openxmlformats.org/officeDocument/2006/relationships/tags" Target="../tags/tag79.xml"/><Relationship Id="rId116" Type="http://schemas.openxmlformats.org/officeDocument/2006/relationships/tags" Target="../tags/tag116.xml"/><Relationship Id="rId117" Type="http://schemas.openxmlformats.org/officeDocument/2006/relationships/tags" Target="../tags/tag117.xml"/><Relationship Id="rId118" Type="http://schemas.openxmlformats.org/officeDocument/2006/relationships/tags" Target="../tags/tag118.xml"/><Relationship Id="rId119" Type="http://schemas.openxmlformats.org/officeDocument/2006/relationships/tags" Target="../tags/tag119.xml"/><Relationship Id="rId280" Type="http://schemas.openxmlformats.org/officeDocument/2006/relationships/tags" Target="../tags/tag280.xml"/><Relationship Id="rId281" Type="http://schemas.openxmlformats.org/officeDocument/2006/relationships/tags" Target="../tags/tag281.xml"/><Relationship Id="rId282" Type="http://schemas.openxmlformats.org/officeDocument/2006/relationships/tags" Target="../tags/tag282.xml"/><Relationship Id="rId283" Type="http://schemas.openxmlformats.org/officeDocument/2006/relationships/tags" Target="../tags/tag283.xml"/><Relationship Id="rId284" Type="http://schemas.openxmlformats.org/officeDocument/2006/relationships/tags" Target="../tags/tag284.xml"/><Relationship Id="rId285" Type="http://schemas.openxmlformats.org/officeDocument/2006/relationships/tags" Target="../tags/tag285.xml"/><Relationship Id="rId286" Type="http://schemas.openxmlformats.org/officeDocument/2006/relationships/tags" Target="../tags/tag286.xml"/><Relationship Id="rId287" Type="http://schemas.openxmlformats.org/officeDocument/2006/relationships/tags" Target="../tags/tag287.xml"/><Relationship Id="rId288" Type="http://schemas.openxmlformats.org/officeDocument/2006/relationships/tags" Target="../tags/tag288.xml"/><Relationship Id="rId289" Type="http://schemas.openxmlformats.org/officeDocument/2006/relationships/tags" Target="../tags/tag289.xml"/><Relationship Id="rId340" Type="http://schemas.openxmlformats.org/officeDocument/2006/relationships/tags" Target="../tags/tag340.xml"/><Relationship Id="rId341" Type="http://schemas.openxmlformats.org/officeDocument/2006/relationships/tags" Target="../tags/tag341.xml"/><Relationship Id="rId342" Type="http://schemas.openxmlformats.org/officeDocument/2006/relationships/tags" Target="../tags/tag342.xml"/><Relationship Id="rId343" Type="http://schemas.openxmlformats.org/officeDocument/2006/relationships/tags" Target="../tags/tag343.xml"/><Relationship Id="rId344" Type="http://schemas.openxmlformats.org/officeDocument/2006/relationships/tags" Target="../tags/tag344.xml"/><Relationship Id="rId345" Type="http://schemas.openxmlformats.org/officeDocument/2006/relationships/tags" Target="../tags/tag345.xml"/><Relationship Id="rId346" Type="http://schemas.openxmlformats.org/officeDocument/2006/relationships/tags" Target="../tags/tag346.xml"/><Relationship Id="rId347" Type="http://schemas.openxmlformats.org/officeDocument/2006/relationships/tags" Target="../tags/tag347.xml"/><Relationship Id="rId348" Type="http://schemas.openxmlformats.org/officeDocument/2006/relationships/tags" Target="../tags/tag348.xml"/><Relationship Id="rId349" Type="http://schemas.openxmlformats.org/officeDocument/2006/relationships/tags" Target="../tags/tag349.xml"/><Relationship Id="rId400" Type="http://schemas.openxmlformats.org/officeDocument/2006/relationships/tags" Target="../tags/tag400.xml"/><Relationship Id="rId401" Type="http://schemas.openxmlformats.org/officeDocument/2006/relationships/tags" Target="../tags/tag401.xml"/><Relationship Id="rId402" Type="http://schemas.openxmlformats.org/officeDocument/2006/relationships/tags" Target="../tags/tag402.xml"/><Relationship Id="rId403" Type="http://schemas.openxmlformats.org/officeDocument/2006/relationships/slideLayout" Target="../slideLayouts/slideLayout8.xml"/><Relationship Id="rId404" Type="http://schemas.openxmlformats.org/officeDocument/2006/relationships/notesSlide" Target="../notesSlides/notesSlide2.xml"/><Relationship Id="rId120" Type="http://schemas.openxmlformats.org/officeDocument/2006/relationships/tags" Target="../tags/tag120.xml"/><Relationship Id="rId121" Type="http://schemas.openxmlformats.org/officeDocument/2006/relationships/tags" Target="../tags/tag121.xml"/><Relationship Id="rId122" Type="http://schemas.openxmlformats.org/officeDocument/2006/relationships/tags" Target="../tags/tag122.xml"/><Relationship Id="rId123" Type="http://schemas.openxmlformats.org/officeDocument/2006/relationships/tags" Target="../tags/tag123.xml"/><Relationship Id="rId124" Type="http://schemas.openxmlformats.org/officeDocument/2006/relationships/tags" Target="../tags/tag124.xml"/><Relationship Id="rId125" Type="http://schemas.openxmlformats.org/officeDocument/2006/relationships/tags" Target="../tags/tag125.xml"/><Relationship Id="rId80" Type="http://schemas.openxmlformats.org/officeDocument/2006/relationships/tags" Target="../tags/tag80.xml"/><Relationship Id="rId81" Type="http://schemas.openxmlformats.org/officeDocument/2006/relationships/tags" Target="../tags/tag81.xml"/><Relationship Id="rId82" Type="http://schemas.openxmlformats.org/officeDocument/2006/relationships/tags" Target="../tags/tag82.xml"/><Relationship Id="rId83" Type="http://schemas.openxmlformats.org/officeDocument/2006/relationships/tags" Target="../tags/tag83.xml"/><Relationship Id="rId84" Type="http://schemas.openxmlformats.org/officeDocument/2006/relationships/tags" Target="../tags/tag84.xml"/><Relationship Id="rId85" Type="http://schemas.openxmlformats.org/officeDocument/2006/relationships/tags" Target="../tags/tag85.xml"/><Relationship Id="rId86" Type="http://schemas.openxmlformats.org/officeDocument/2006/relationships/tags" Target="../tags/tag86.xml"/><Relationship Id="rId87" Type="http://schemas.openxmlformats.org/officeDocument/2006/relationships/tags" Target="../tags/tag87.xml"/><Relationship Id="rId88" Type="http://schemas.openxmlformats.org/officeDocument/2006/relationships/tags" Target="../tags/tag88.xml"/><Relationship Id="rId89" Type="http://schemas.openxmlformats.org/officeDocument/2006/relationships/tags" Target="../tags/tag89.xml"/><Relationship Id="rId126" Type="http://schemas.openxmlformats.org/officeDocument/2006/relationships/tags" Target="../tags/tag126.xml"/><Relationship Id="rId127" Type="http://schemas.openxmlformats.org/officeDocument/2006/relationships/tags" Target="../tags/tag127.xml"/><Relationship Id="rId128" Type="http://schemas.openxmlformats.org/officeDocument/2006/relationships/tags" Target="../tags/tag128.xml"/><Relationship Id="rId129" Type="http://schemas.openxmlformats.org/officeDocument/2006/relationships/tags" Target="../tags/tag129.xml"/><Relationship Id="rId290" Type="http://schemas.openxmlformats.org/officeDocument/2006/relationships/tags" Target="../tags/tag290.xml"/><Relationship Id="rId291" Type="http://schemas.openxmlformats.org/officeDocument/2006/relationships/tags" Target="../tags/tag291.xml"/><Relationship Id="rId292" Type="http://schemas.openxmlformats.org/officeDocument/2006/relationships/tags" Target="../tags/tag292.xml"/><Relationship Id="rId293" Type="http://schemas.openxmlformats.org/officeDocument/2006/relationships/tags" Target="../tags/tag293.xml"/><Relationship Id="rId294" Type="http://schemas.openxmlformats.org/officeDocument/2006/relationships/tags" Target="../tags/tag294.xml"/><Relationship Id="rId295" Type="http://schemas.openxmlformats.org/officeDocument/2006/relationships/tags" Target="../tags/tag295.xml"/><Relationship Id="rId296" Type="http://schemas.openxmlformats.org/officeDocument/2006/relationships/tags" Target="../tags/tag296.xml"/><Relationship Id="rId297" Type="http://schemas.openxmlformats.org/officeDocument/2006/relationships/tags" Target="../tags/tag297.xml"/><Relationship Id="rId298" Type="http://schemas.openxmlformats.org/officeDocument/2006/relationships/tags" Target="../tags/tag298.xml"/><Relationship Id="rId299" Type="http://schemas.openxmlformats.org/officeDocument/2006/relationships/tags" Target="../tags/tag299.xml"/><Relationship Id="rId350" Type="http://schemas.openxmlformats.org/officeDocument/2006/relationships/tags" Target="../tags/tag350.xml"/><Relationship Id="rId351" Type="http://schemas.openxmlformats.org/officeDocument/2006/relationships/tags" Target="../tags/tag351.xml"/><Relationship Id="rId352" Type="http://schemas.openxmlformats.org/officeDocument/2006/relationships/tags" Target="../tags/tag352.xml"/><Relationship Id="rId353" Type="http://schemas.openxmlformats.org/officeDocument/2006/relationships/tags" Target="../tags/tag353.xml"/><Relationship Id="rId354" Type="http://schemas.openxmlformats.org/officeDocument/2006/relationships/tags" Target="../tags/tag354.xml"/><Relationship Id="rId355" Type="http://schemas.openxmlformats.org/officeDocument/2006/relationships/tags" Target="../tags/tag355.xml"/><Relationship Id="rId356" Type="http://schemas.openxmlformats.org/officeDocument/2006/relationships/tags" Target="../tags/tag356.xml"/><Relationship Id="rId357" Type="http://schemas.openxmlformats.org/officeDocument/2006/relationships/tags" Target="../tags/tag357.xml"/><Relationship Id="rId358" Type="http://schemas.openxmlformats.org/officeDocument/2006/relationships/tags" Target="../tags/tag358.xml"/><Relationship Id="rId359" Type="http://schemas.openxmlformats.org/officeDocument/2006/relationships/tags" Target="../tags/tag359.xml"/><Relationship Id="rId130" Type="http://schemas.openxmlformats.org/officeDocument/2006/relationships/tags" Target="../tags/tag130.xml"/><Relationship Id="rId131" Type="http://schemas.openxmlformats.org/officeDocument/2006/relationships/tags" Target="../tags/tag131.xml"/><Relationship Id="rId132" Type="http://schemas.openxmlformats.org/officeDocument/2006/relationships/tags" Target="../tags/tag132.xml"/><Relationship Id="rId133" Type="http://schemas.openxmlformats.org/officeDocument/2006/relationships/tags" Target="../tags/tag133.xml"/><Relationship Id="rId134" Type="http://schemas.openxmlformats.org/officeDocument/2006/relationships/tags" Target="../tags/tag134.xml"/><Relationship Id="rId135" Type="http://schemas.openxmlformats.org/officeDocument/2006/relationships/tags" Target="../tags/tag135.xml"/><Relationship Id="rId90" Type="http://schemas.openxmlformats.org/officeDocument/2006/relationships/tags" Target="../tags/tag90.xml"/><Relationship Id="rId91" Type="http://schemas.openxmlformats.org/officeDocument/2006/relationships/tags" Target="../tags/tag91.xml"/><Relationship Id="rId92" Type="http://schemas.openxmlformats.org/officeDocument/2006/relationships/tags" Target="../tags/tag92.xml"/><Relationship Id="rId93" Type="http://schemas.openxmlformats.org/officeDocument/2006/relationships/tags" Target="../tags/tag93.xml"/><Relationship Id="rId94" Type="http://schemas.openxmlformats.org/officeDocument/2006/relationships/tags" Target="../tags/tag94.xml"/><Relationship Id="rId95" Type="http://schemas.openxmlformats.org/officeDocument/2006/relationships/tags" Target="../tags/tag95.xml"/><Relationship Id="rId96" Type="http://schemas.openxmlformats.org/officeDocument/2006/relationships/tags" Target="../tags/tag96.xml"/><Relationship Id="rId97" Type="http://schemas.openxmlformats.org/officeDocument/2006/relationships/tags" Target="../tags/tag97.xml"/><Relationship Id="rId98" Type="http://schemas.openxmlformats.org/officeDocument/2006/relationships/tags" Target="../tags/tag98.xml"/><Relationship Id="rId99" Type="http://schemas.openxmlformats.org/officeDocument/2006/relationships/tags" Target="../tags/tag99.xml"/><Relationship Id="rId136" Type="http://schemas.openxmlformats.org/officeDocument/2006/relationships/tags" Target="../tags/tag136.xml"/><Relationship Id="rId137" Type="http://schemas.openxmlformats.org/officeDocument/2006/relationships/tags" Target="../tags/tag137.xml"/><Relationship Id="rId138" Type="http://schemas.openxmlformats.org/officeDocument/2006/relationships/tags" Target="../tags/tag138.xml"/><Relationship Id="rId139" Type="http://schemas.openxmlformats.org/officeDocument/2006/relationships/tags" Target="../tags/tag139.xml"/><Relationship Id="rId360" Type="http://schemas.openxmlformats.org/officeDocument/2006/relationships/tags" Target="../tags/tag360.xml"/><Relationship Id="rId361" Type="http://schemas.openxmlformats.org/officeDocument/2006/relationships/tags" Target="../tags/tag361.xml"/><Relationship Id="rId362" Type="http://schemas.openxmlformats.org/officeDocument/2006/relationships/tags" Target="../tags/tag362.xml"/><Relationship Id="rId363" Type="http://schemas.openxmlformats.org/officeDocument/2006/relationships/tags" Target="../tags/tag363.xml"/><Relationship Id="rId364" Type="http://schemas.openxmlformats.org/officeDocument/2006/relationships/tags" Target="../tags/tag364.xml"/><Relationship Id="rId365" Type="http://schemas.openxmlformats.org/officeDocument/2006/relationships/tags" Target="../tags/tag365.xml"/><Relationship Id="rId366" Type="http://schemas.openxmlformats.org/officeDocument/2006/relationships/tags" Target="../tags/tag366.xml"/><Relationship Id="rId367" Type="http://schemas.openxmlformats.org/officeDocument/2006/relationships/tags" Target="../tags/tag367.xml"/><Relationship Id="rId368" Type="http://schemas.openxmlformats.org/officeDocument/2006/relationships/tags" Target="../tags/tag368.xml"/><Relationship Id="rId369" Type="http://schemas.openxmlformats.org/officeDocument/2006/relationships/tags" Target="../tags/tag369.xml"/><Relationship Id="rId140" Type="http://schemas.openxmlformats.org/officeDocument/2006/relationships/tags" Target="../tags/tag140.xml"/><Relationship Id="rId141" Type="http://schemas.openxmlformats.org/officeDocument/2006/relationships/tags" Target="../tags/tag141.xml"/><Relationship Id="rId142" Type="http://schemas.openxmlformats.org/officeDocument/2006/relationships/tags" Target="../tags/tag142.xml"/><Relationship Id="rId143" Type="http://schemas.openxmlformats.org/officeDocument/2006/relationships/tags" Target="../tags/tag143.xml"/><Relationship Id="rId144" Type="http://schemas.openxmlformats.org/officeDocument/2006/relationships/tags" Target="../tags/tag144.xml"/><Relationship Id="rId145" Type="http://schemas.openxmlformats.org/officeDocument/2006/relationships/tags" Target="../tags/tag145.xml"/><Relationship Id="rId146" Type="http://schemas.openxmlformats.org/officeDocument/2006/relationships/tags" Target="../tags/tag146.xml"/><Relationship Id="rId147" Type="http://schemas.openxmlformats.org/officeDocument/2006/relationships/tags" Target="../tags/tag147.xml"/><Relationship Id="rId148" Type="http://schemas.openxmlformats.org/officeDocument/2006/relationships/tags" Target="../tags/tag148.xml"/><Relationship Id="rId149" Type="http://schemas.openxmlformats.org/officeDocument/2006/relationships/tags" Target="../tags/tag149.xml"/><Relationship Id="rId200" Type="http://schemas.openxmlformats.org/officeDocument/2006/relationships/tags" Target="../tags/tag200.xml"/><Relationship Id="rId201" Type="http://schemas.openxmlformats.org/officeDocument/2006/relationships/tags" Target="../tags/tag201.xml"/><Relationship Id="rId202" Type="http://schemas.openxmlformats.org/officeDocument/2006/relationships/tags" Target="../tags/tag202.xml"/><Relationship Id="rId203" Type="http://schemas.openxmlformats.org/officeDocument/2006/relationships/tags" Target="../tags/tag203.xml"/><Relationship Id="rId204" Type="http://schemas.openxmlformats.org/officeDocument/2006/relationships/tags" Target="../tags/tag204.xml"/><Relationship Id="rId205" Type="http://schemas.openxmlformats.org/officeDocument/2006/relationships/tags" Target="../tags/tag205.xml"/><Relationship Id="rId206" Type="http://schemas.openxmlformats.org/officeDocument/2006/relationships/tags" Target="../tags/tag206.xml"/><Relationship Id="rId207" Type="http://schemas.openxmlformats.org/officeDocument/2006/relationships/tags" Target="../tags/tag207.xml"/><Relationship Id="rId208" Type="http://schemas.openxmlformats.org/officeDocument/2006/relationships/tags" Target="../tags/tag208.xml"/><Relationship Id="rId209" Type="http://schemas.openxmlformats.org/officeDocument/2006/relationships/tags" Target="../tags/tag209.xml"/><Relationship Id="rId370" Type="http://schemas.openxmlformats.org/officeDocument/2006/relationships/tags" Target="../tags/tag370.xml"/><Relationship Id="rId371" Type="http://schemas.openxmlformats.org/officeDocument/2006/relationships/tags" Target="../tags/tag371.xml"/><Relationship Id="rId372" Type="http://schemas.openxmlformats.org/officeDocument/2006/relationships/tags" Target="../tags/tag372.xml"/><Relationship Id="rId373" Type="http://schemas.openxmlformats.org/officeDocument/2006/relationships/tags" Target="../tags/tag373.xml"/><Relationship Id="rId374" Type="http://schemas.openxmlformats.org/officeDocument/2006/relationships/tags" Target="../tags/tag374.xml"/><Relationship Id="rId375" Type="http://schemas.openxmlformats.org/officeDocument/2006/relationships/tags" Target="../tags/tag375.xml"/><Relationship Id="rId376" Type="http://schemas.openxmlformats.org/officeDocument/2006/relationships/tags" Target="../tags/tag376.xml"/><Relationship Id="rId377" Type="http://schemas.openxmlformats.org/officeDocument/2006/relationships/tags" Target="../tags/tag377.xml"/><Relationship Id="rId378" Type="http://schemas.openxmlformats.org/officeDocument/2006/relationships/tags" Target="../tags/tag378.xml"/><Relationship Id="rId379" Type="http://schemas.openxmlformats.org/officeDocument/2006/relationships/tags" Target="../tags/tag379.xml"/><Relationship Id="rId150" Type="http://schemas.openxmlformats.org/officeDocument/2006/relationships/tags" Target="../tags/tag150.xml"/><Relationship Id="rId151" Type="http://schemas.openxmlformats.org/officeDocument/2006/relationships/tags" Target="../tags/tag151.xml"/><Relationship Id="rId152" Type="http://schemas.openxmlformats.org/officeDocument/2006/relationships/tags" Target="../tags/tag152.xml"/><Relationship Id="rId153" Type="http://schemas.openxmlformats.org/officeDocument/2006/relationships/tags" Target="../tags/tag153.xml"/><Relationship Id="rId154" Type="http://schemas.openxmlformats.org/officeDocument/2006/relationships/tags" Target="../tags/tag154.xml"/><Relationship Id="rId155" Type="http://schemas.openxmlformats.org/officeDocument/2006/relationships/tags" Target="../tags/tag155.xml"/><Relationship Id="rId156" Type="http://schemas.openxmlformats.org/officeDocument/2006/relationships/tags" Target="../tags/tag156.xml"/><Relationship Id="rId157" Type="http://schemas.openxmlformats.org/officeDocument/2006/relationships/tags" Target="../tags/tag157.xml"/><Relationship Id="rId158" Type="http://schemas.openxmlformats.org/officeDocument/2006/relationships/tags" Target="../tags/tag158.xml"/><Relationship Id="rId159" Type="http://schemas.openxmlformats.org/officeDocument/2006/relationships/tags" Target="../tags/tag159.xml"/><Relationship Id="rId210" Type="http://schemas.openxmlformats.org/officeDocument/2006/relationships/tags" Target="../tags/tag210.xml"/><Relationship Id="rId211" Type="http://schemas.openxmlformats.org/officeDocument/2006/relationships/tags" Target="../tags/tag211.xml"/><Relationship Id="rId212" Type="http://schemas.openxmlformats.org/officeDocument/2006/relationships/tags" Target="../tags/tag212.xml"/><Relationship Id="rId213" Type="http://schemas.openxmlformats.org/officeDocument/2006/relationships/tags" Target="../tags/tag213.xml"/><Relationship Id="rId214" Type="http://schemas.openxmlformats.org/officeDocument/2006/relationships/tags" Target="../tags/tag214.xml"/><Relationship Id="rId215" Type="http://schemas.openxmlformats.org/officeDocument/2006/relationships/tags" Target="../tags/tag215.xml"/><Relationship Id="rId216" Type="http://schemas.openxmlformats.org/officeDocument/2006/relationships/tags" Target="../tags/tag216.xml"/><Relationship Id="rId217" Type="http://schemas.openxmlformats.org/officeDocument/2006/relationships/tags" Target="../tags/tag217.xml"/><Relationship Id="rId218" Type="http://schemas.openxmlformats.org/officeDocument/2006/relationships/tags" Target="../tags/tag218.xml"/><Relationship Id="rId219" Type="http://schemas.openxmlformats.org/officeDocument/2006/relationships/tags" Target="../tags/tag219.xml"/><Relationship Id="rId380" Type="http://schemas.openxmlformats.org/officeDocument/2006/relationships/tags" Target="../tags/tag380.xml"/><Relationship Id="rId381" Type="http://schemas.openxmlformats.org/officeDocument/2006/relationships/tags" Target="../tags/tag381.xml"/><Relationship Id="rId382" Type="http://schemas.openxmlformats.org/officeDocument/2006/relationships/tags" Target="../tags/tag382.xml"/><Relationship Id="rId383" Type="http://schemas.openxmlformats.org/officeDocument/2006/relationships/tags" Target="../tags/tag383.xml"/><Relationship Id="rId384" Type="http://schemas.openxmlformats.org/officeDocument/2006/relationships/tags" Target="../tags/tag384.xml"/><Relationship Id="rId385" Type="http://schemas.openxmlformats.org/officeDocument/2006/relationships/tags" Target="../tags/tag385.xml"/><Relationship Id="rId386" Type="http://schemas.openxmlformats.org/officeDocument/2006/relationships/tags" Target="../tags/tag386.xml"/><Relationship Id="rId387" Type="http://schemas.openxmlformats.org/officeDocument/2006/relationships/tags" Target="../tags/tag387.xml"/><Relationship Id="rId388" Type="http://schemas.openxmlformats.org/officeDocument/2006/relationships/tags" Target="../tags/tag388.xml"/><Relationship Id="rId389" Type="http://schemas.openxmlformats.org/officeDocument/2006/relationships/tags" Target="../tags/tag389.xml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160" Type="http://schemas.openxmlformats.org/officeDocument/2006/relationships/tags" Target="../tags/tag160.xml"/><Relationship Id="rId161" Type="http://schemas.openxmlformats.org/officeDocument/2006/relationships/tags" Target="../tags/tag161.xml"/><Relationship Id="rId162" Type="http://schemas.openxmlformats.org/officeDocument/2006/relationships/tags" Target="../tags/tag162.xml"/><Relationship Id="rId163" Type="http://schemas.openxmlformats.org/officeDocument/2006/relationships/tags" Target="../tags/tag163.xml"/><Relationship Id="rId164" Type="http://schemas.openxmlformats.org/officeDocument/2006/relationships/tags" Target="../tags/tag164.xml"/><Relationship Id="rId165" Type="http://schemas.openxmlformats.org/officeDocument/2006/relationships/tags" Target="../tags/tag165.xml"/><Relationship Id="rId166" Type="http://schemas.openxmlformats.org/officeDocument/2006/relationships/tags" Target="../tags/tag166.xml"/><Relationship Id="rId167" Type="http://schemas.openxmlformats.org/officeDocument/2006/relationships/tags" Target="../tags/tag167.xml"/><Relationship Id="rId168" Type="http://schemas.openxmlformats.org/officeDocument/2006/relationships/tags" Target="../tags/tag168.xml"/><Relationship Id="rId169" Type="http://schemas.openxmlformats.org/officeDocument/2006/relationships/tags" Target="../tags/tag169.xml"/><Relationship Id="rId220" Type="http://schemas.openxmlformats.org/officeDocument/2006/relationships/tags" Target="../tags/tag220.xml"/><Relationship Id="rId221" Type="http://schemas.openxmlformats.org/officeDocument/2006/relationships/tags" Target="../tags/tag221.xml"/><Relationship Id="rId222" Type="http://schemas.openxmlformats.org/officeDocument/2006/relationships/tags" Target="../tags/tag222.xml"/><Relationship Id="rId223" Type="http://schemas.openxmlformats.org/officeDocument/2006/relationships/tags" Target="../tags/tag223.xml"/><Relationship Id="rId224" Type="http://schemas.openxmlformats.org/officeDocument/2006/relationships/tags" Target="../tags/tag224.xml"/><Relationship Id="rId225" Type="http://schemas.openxmlformats.org/officeDocument/2006/relationships/tags" Target="../tags/tag225.xml"/><Relationship Id="rId226" Type="http://schemas.openxmlformats.org/officeDocument/2006/relationships/tags" Target="../tags/tag226.xml"/><Relationship Id="rId227" Type="http://schemas.openxmlformats.org/officeDocument/2006/relationships/tags" Target="../tags/tag227.xml"/><Relationship Id="rId228" Type="http://schemas.openxmlformats.org/officeDocument/2006/relationships/tags" Target="../tags/tag228.xml"/><Relationship Id="rId229" Type="http://schemas.openxmlformats.org/officeDocument/2006/relationships/tags" Target="../tags/tag229.xml"/><Relationship Id="rId390" Type="http://schemas.openxmlformats.org/officeDocument/2006/relationships/tags" Target="../tags/tag390.xml"/><Relationship Id="rId391" Type="http://schemas.openxmlformats.org/officeDocument/2006/relationships/tags" Target="../tags/tag391.xml"/><Relationship Id="rId392" Type="http://schemas.openxmlformats.org/officeDocument/2006/relationships/tags" Target="../tags/tag392.xml"/><Relationship Id="rId393" Type="http://schemas.openxmlformats.org/officeDocument/2006/relationships/tags" Target="../tags/tag393.xml"/><Relationship Id="rId394" Type="http://schemas.openxmlformats.org/officeDocument/2006/relationships/tags" Target="../tags/tag394.xml"/><Relationship Id="rId395" Type="http://schemas.openxmlformats.org/officeDocument/2006/relationships/tags" Target="../tags/tag395.xml"/><Relationship Id="rId396" Type="http://schemas.openxmlformats.org/officeDocument/2006/relationships/tags" Target="../tags/tag396.xml"/><Relationship Id="rId397" Type="http://schemas.openxmlformats.org/officeDocument/2006/relationships/tags" Target="../tags/tag397.xml"/><Relationship Id="rId398" Type="http://schemas.openxmlformats.org/officeDocument/2006/relationships/tags" Target="../tags/tag398.xml"/><Relationship Id="rId399" Type="http://schemas.openxmlformats.org/officeDocument/2006/relationships/tags" Target="../tags/tag39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heltercluster.org/node/5221" TargetMode="External"/><Relationship Id="rId4" Type="http://schemas.openxmlformats.org/officeDocument/2006/relationships/hyperlink" Target="https://www.sheltercluster.org/strategic-advisory/global-strategic-advisory-group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.png"/><Relationship Id="rId20" Type="http://schemas.openxmlformats.org/officeDocument/2006/relationships/image" Target="../media/image26.png"/><Relationship Id="rId10" Type="http://schemas.openxmlformats.org/officeDocument/2006/relationships/image" Target="../media/image16.png"/><Relationship Id="rId11" Type="http://schemas.openxmlformats.org/officeDocument/2006/relationships/image" Target="../media/image17.jpeg"/><Relationship Id="rId12" Type="http://schemas.openxmlformats.org/officeDocument/2006/relationships/image" Target="../media/image18.jpeg"/><Relationship Id="rId13" Type="http://schemas.openxmlformats.org/officeDocument/2006/relationships/image" Target="../media/image19.jpeg"/><Relationship Id="rId14" Type="http://schemas.openxmlformats.org/officeDocument/2006/relationships/image" Target="../media/image20.jpeg"/><Relationship Id="rId15" Type="http://schemas.openxmlformats.org/officeDocument/2006/relationships/image" Target="../media/image21.png"/><Relationship Id="rId16" Type="http://schemas.openxmlformats.org/officeDocument/2006/relationships/image" Target="../media/image22.png"/><Relationship Id="rId17" Type="http://schemas.openxmlformats.org/officeDocument/2006/relationships/image" Target="../media/image23.jpeg"/><Relationship Id="rId18" Type="http://schemas.openxmlformats.org/officeDocument/2006/relationships/image" Target="../media/image24.png"/><Relationship Id="rId19" Type="http://schemas.openxmlformats.org/officeDocument/2006/relationships/image" Target="../media/image25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<Relationship Id="rId3" Type="http://schemas.openxmlformats.org/officeDocument/2006/relationships/hyperlink" Target="https://www.sheltercluster.org/node/5221" TargetMode="External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jpeg"/><Relationship Id="rId8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Global Shelter Cluster</a:t>
            </a:r>
            <a:endParaRPr lang="en-GB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UK Shelter Forum </a:t>
            </a:r>
          </a:p>
          <a:p>
            <a:r>
              <a:rPr lang="en-US" sz="2400" dirty="0" smtClean="0"/>
              <a:t>11 Nov 2016</a:t>
            </a:r>
            <a:endParaRPr lang="en-GB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2433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ash and Shelter</a:t>
            </a:r>
          </a:p>
          <a:p>
            <a:r>
              <a:rPr lang="en-US" dirty="0" smtClean="0"/>
              <a:t>NFIs and meeting household needs</a:t>
            </a:r>
          </a:p>
          <a:p>
            <a:r>
              <a:rPr lang="en-US" dirty="0" smtClean="0"/>
              <a:t>Construction Standards </a:t>
            </a:r>
          </a:p>
          <a:p>
            <a:r>
              <a:rPr lang="en-US" dirty="0" smtClean="0"/>
              <a:t>GBV and Shelter</a:t>
            </a:r>
          </a:p>
          <a:p>
            <a:r>
              <a:rPr lang="en-US" dirty="0" smtClean="0"/>
              <a:t>Shelter Projects 2015-2016</a:t>
            </a:r>
          </a:p>
          <a:p>
            <a:r>
              <a:rPr lang="en-US" dirty="0" smtClean="0"/>
              <a:t>State of the Humanitarian Shelter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0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orking Group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73002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osition paper</a:t>
            </a:r>
          </a:p>
          <a:p>
            <a:r>
              <a:rPr lang="en-US" dirty="0" smtClean="0"/>
              <a:t>Literature review</a:t>
            </a:r>
          </a:p>
          <a:p>
            <a:r>
              <a:rPr lang="en-US" dirty="0" smtClean="0"/>
              <a:t>Cash and Shelter IM implications</a:t>
            </a:r>
          </a:p>
          <a:p>
            <a:r>
              <a:rPr lang="en-US" dirty="0" smtClean="0"/>
              <a:t>Guidanc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1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ash and shel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41467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2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utputs of the GBV WG and Site Planning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600" y="1820037"/>
            <a:ext cx="3075449" cy="432740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2799" y="1820036"/>
            <a:ext cx="3047555" cy="4327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7434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3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helterCaseStudies.org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4925" y="1846935"/>
            <a:ext cx="4029075" cy="70485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0" y="2060848"/>
            <a:ext cx="1152128" cy="1637235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7880" y="2060848"/>
            <a:ext cx="1160276" cy="1637235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6681" y="2063120"/>
            <a:ext cx="1159658" cy="1634963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759" y="4115868"/>
            <a:ext cx="1179645" cy="1689396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7881" y="4115868"/>
            <a:ext cx="1186172" cy="1689396"/>
          </a:xfrm>
          <a:prstGeom prst="rect">
            <a:avLst/>
          </a:prstGeom>
          <a:ln w="2222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367697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5-6 October 2016 in Geneva</a:t>
            </a:r>
          </a:p>
          <a:p>
            <a:r>
              <a:rPr lang="en-GB" b="1" dirty="0"/>
              <a:t>122 participants</a:t>
            </a:r>
            <a:r>
              <a:rPr lang="en-GB" dirty="0"/>
              <a:t> </a:t>
            </a:r>
            <a:endParaRPr lang="en-GB" dirty="0" smtClean="0"/>
          </a:p>
          <a:p>
            <a:r>
              <a:rPr lang="en-GB" dirty="0" smtClean="0"/>
              <a:t>From 36 </a:t>
            </a:r>
            <a:r>
              <a:rPr lang="en-GB" dirty="0"/>
              <a:t>different shelter </a:t>
            </a:r>
            <a:r>
              <a:rPr lang="en-GB" dirty="0" smtClean="0"/>
              <a:t>partners</a:t>
            </a:r>
          </a:p>
          <a:p>
            <a:r>
              <a:rPr lang="en-US" dirty="0" smtClean="0"/>
              <a:t>Key challenges identified:</a:t>
            </a:r>
          </a:p>
          <a:p>
            <a:pPr lvl="1"/>
            <a:r>
              <a:rPr lang="en-US" dirty="0" smtClean="0"/>
              <a:t>More predictable funding for shelter ops</a:t>
            </a:r>
          </a:p>
          <a:p>
            <a:pPr lvl="1"/>
            <a:r>
              <a:rPr lang="en-US" dirty="0" smtClean="0"/>
              <a:t>Harmonized data collection</a:t>
            </a:r>
          </a:p>
          <a:p>
            <a:pPr lvl="1"/>
            <a:r>
              <a:rPr lang="en-US" dirty="0" smtClean="0"/>
              <a:t>Increased coordination capacity at sub-national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4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GSC mee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38326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95288" y="6237288"/>
            <a:ext cx="216058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30723" name="Picture 2" descr="C:\Users\No-Admin\Dropbox\SC Support Team\Communications and Advocay\GSC Brochure\assets\logos\ECHO flag-HACP_en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4365103"/>
            <a:ext cx="2278974" cy="2159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5" name="TextBox 6"/>
          <p:cNvSpPr txBox="1">
            <a:spLocks noChangeArrowheads="1"/>
          </p:cNvSpPr>
          <p:nvPr/>
        </p:nvSpPr>
        <p:spPr bwMode="auto">
          <a:xfrm>
            <a:off x="346198" y="3933056"/>
            <a:ext cx="194636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7F1416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F1416"/>
              </a:buClr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F1416"/>
              </a:buClr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F1416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2400" dirty="0"/>
              <a:t>Supported by:</a:t>
            </a:r>
          </a:p>
        </p:txBody>
      </p:sp>
      <p:sp>
        <p:nvSpPr>
          <p:cNvPr id="6" name="Subtitle 4"/>
          <p:cNvSpPr txBox="1">
            <a:spLocks/>
          </p:cNvSpPr>
          <p:nvPr/>
        </p:nvSpPr>
        <p:spPr bwMode="auto">
          <a:xfrm>
            <a:off x="1116657" y="1268785"/>
            <a:ext cx="7343775" cy="2808287"/>
          </a:xfrm>
          <a:prstGeom prst="rect">
            <a:avLst/>
          </a:prstGeom>
          <a:solidFill>
            <a:schemeClr val="bg1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endParaRPr lang="en-US" altLang="en-US" sz="3000" dirty="0">
              <a:solidFill>
                <a:srgbClr val="632523"/>
              </a:solidFill>
              <a:latin typeface="Arial" charset="0"/>
            </a:endParaRPr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US" altLang="en-US" sz="3300" b="1" dirty="0">
                <a:solidFill>
                  <a:srgbClr val="04314C"/>
                </a:solidFill>
                <a:latin typeface="Verdana" pitchFamily="34" charset="0"/>
              </a:rPr>
              <a:t>Thank you!</a:t>
            </a:r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endParaRPr lang="en-US" altLang="en-US" sz="1900" b="1" dirty="0">
              <a:solidFill>
                <a:srgbClr val="7F7F7F"/>
              </a:solidFill>
              <a:latin typeface="Arial" charset="0"/>
            </a:endParaRPr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US" altLang="en-US" sz="2600" b="1" dirty="0"/>
              <a:t>More info:</a:t>
            </a:r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US" altLang="en-US" sz="2600" b="1" dirty="0">
                <a:hlinkClick r:id="rId3"/>
              </a:rPr>
              <a:t>www.sheltercluster.org</a:t>
            </a:r>
            <a:endParaRPr lang="en-US" altLang="en-US" sz="2600" b="1" dirty="0"/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US" altLang="en-US" sz="2600" b="1" dirty="0"/>
              <a:t>Twitter: @</a:t>
            </a:r>
            <a:r>
              <a:rPr lang="en-US" altLang="en-US" sz="2600" b="1" dirty="0" err="1"/>
              <a:t>sheltercluster</a:t>
            </a:r>
            <a:endParaRPr lang="en-US" altLang="en-US" sz="2600" b="1" dirty="0"/>
          </a:p>
        </p:txBody>
      </p:sp>
    </p:spTree>
    <p:extLst>
      <p:ext uri="{BB962C8B-B14F-4D97-AF65-F5344CB8AC3E}">
        <p14:creationId xmlns:p14="http://schemas.microsoft.com/office/powerpoint/2010/main" val="12627537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2</a:t>
            </a:fld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chievements 2015 &amp; 2016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592" y="1833765"/>
            <a:ext cx="3270534" cy="461466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016" y="1825176"/>
            <a:ext cx="3240360" cy="4623253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5698304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7942175" y="3283987"/>
            <a:ext cx="1166330" cy="1297141"/>
          </a:xfrm>
          <a:prstGeom prst="ellipse">
            <a:avLst/>
          </a:prstGeom>
          <a:gradFill flip="none" rotWithShape="1">
            <a:gsLst>
              <a:gs pos="0">
                <a:srgbClr val="149C48">
                  <a:tint val="66000"/>
                  <a:satMod val="160000"/>
                </a:srgbClr>
              </a:gs>
              <a:gs pos="22000">
                <a:srgbClr val="149C48">
                  <a:tint val="44500"/>
                  <a:satMod val="160000"/>
                </a:srgbClr>
              </a:gs>
              <a:gs pos="73000">
                <a:srgbClr val="149C48">
                  <a:tint val="23500"/>
                  <a:satMod val="160000"/>
                  <a:lumMod val="98000"/>
                  <a:alpha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GB" altLang="en-US" sz="1800" smtClean="0">
              <a:solidFill>
                <a:srgbClr val="149C48"/>
              </a:solidFill>
            </a:endParaRPr>
          </a:p>
        </p:txBody>
      </p:sp>
      <p:sp>
        <p:nvSpPr>
          <p:cNvPr id="634" name="TextBox 633"/>
          <p:cNvSpPr txBox="1"/>
          <p:nvPr/>
        </p:nvSpPr>
        <p:spPr>
          <a:xfrm>
            <a:off x="7578725" y="3198813"/>
            <a:ext cx="1252538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Philippines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 - IOM</a:t>
            </a:r>
          </a:p>
        </p:txBody>
      </p:sp>
      <p:grpSp>
        <p:nvGrpSpPr>
          <p:cNvPr id="15366" name="Group 1"/>
          <p:cNvGrpSpPr>
            <a:grpSpLocks/>
          </p:cNvGrpSpPr>
          <p:nvPr/>
        </p:nvGrpSpPr>
        <p:grpSpPr bwMode="auto">
          <a:xfrm>
            <a:off x="-50800" y="965200"/>
            <a:ext cx="9021763" cy="5032375"/>
            <a:chOff x="677863" y="1196975"/>
            <a:chExt cx="7639050" cy="4260850"/>
          </a:xfrm>
        </p:grpSpPr>
        <p:sp>
          <p:nvSpPr>
            <p:cNvPr id="15396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2147483647 w 73"/>
                <a:gd name="T3" fmla="*/ 2147483647 h 20"/>
                <a:gd name="T4" fmla="*/ 2147483647 w 73"/>
                <a:gd name="T5" fmla="*/ 2147483647 h 20"/>
                <a:gd name="T6" fmla="*/ 2147483647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3"/>
                <a:gd name="T55" fmla="*/ 0 h 20"/>
                <a:gd name="T56" fmla="*/ 73 w 73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7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147483647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2147483647 h 850"/>
                <a:gd name="T92" fmla="*/ 2147483647 w 1808"/>
                <a:gd name="T93" fmla="*/ 2147483647 h 850"/>
                <a:gd name="T94" fmla="*/ 2147483647 w 1808"/>
                <a:gd name="T95" fmla="*/ 2147483647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08"/>
                <a:gd name="T184" fmla="*/ 0 h 850"/>
                <a:gd name="T185" fmla="*/ 1808 w 1808"/>
                <a:gd name="T186" fmla="*/ 850 h 85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8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75"/>
                <a:gd name="T187" fmla="*/ 0 h 1472"/>
                <a:gd name="T188" fmla="*/ 3175 w 3175"/>
                <a:gd name="T189" fmla="*/ 1472 h 14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9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1128"/>
                <a:gd name="T167" fmla="*/ 784 w 784"/>
                <a:gd name="T168" fmla="*/ 1128 h 11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0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98"/>
                <a:gd name="T187" fmla="*/ 0 h 2158"/>
                <a:gd name="T188" fmla="*/ 598 w 598"/>
                <a:gd name="T189" fmla="*/ 2158 h 21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1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2292"/>
                <a:gd name="T191" fmla="*/ 2226 w 2226"/>
                <a:gd name="T192" fmla="*/ 2292 h 22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2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1"/>
                <a:gd name="T115" fmla="*/ 0 h 93"/>
                <a:gd name="T116" fmla="*/ 161 w 161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3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2"/>
                <a:gd name="T106" fmla="*/ 0 h 307"/>
                <a:gd name="T107" fmla="*/ 192 w 192"/>
                <a:gd name="T108" fmla="*/ 307 h 3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4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98"/>
                <a:gd name="T181" fmla="*/ 0 h 518"/>
                <a:gd name="T182" fmla="*/ 398 w 398"/>
                <a:gd name="T183" fmla="*/ 518 h 5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5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2147483647 w 382"/>
                <a:gd name="T21" fmla="*/ 2147483647 h 148"/>
                <a:gd name="T22" fmla="*/ 0 w 382"/>
                <a:gd name="T23" fmla="*/ 2147483647 h 148"/>
                <a:gd name="T24" fmla="*/ 2147483647 w 382"/>
                <a:gd name="T25" fmla="*/ 2147483647 h 148"/>
                <a:gd name="T26" fmla="*/ 2147483647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147483647 h 148"/>
                <a:gd name="T66" fmla="*/ 2147483647 w 382"/>
                <a:gd name="T67" fmla="*/ 2147483647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82"/>
                <a:gd name="T106" fmla="*/ 0 h 148"/>
                <a:gd name="T107" fmla="*/ 382 w 382"/>
                <a:gd name="T108" fmla="*/ 148 h 1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6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36"/>
                <a:gd name="T181" fmla="*/ 0 h 1983"/>
                <a:gd name="T182" fmla="*/ 2936 w 2936"/>
                <a:gd name="T183" fmla="*/ 1983 h 198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7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04"/>
                <a:gd name="T169" fmla="*/ 0 h 524"/>
                <a:gd name="T170" fmla="*/ 504 w 504"/>
                <a:gd name="T171" fmla="*/ 524 h 5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8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38"/>
                <a:gd name="T151" fmla="*/ 0 h 451"/>
                <a:gd name="T152" fmla="*/ 438 w 438"/>
                <a:gd name="T153" fmla="*/ 451 h 45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9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24"/>
                <a:gd name="T161" fmla="*/ 578 w 578"/>
                <a:gd name="T162" fmla="*/ 524 h 52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0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"/>
                <a:gd name="T121" fmla="*/ 0 h 160"/>
                <a:gd name="T122" fmla="*/ 79 w 79"/>
                <a:gd name="T123" fmla="*/ 160 h 1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11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</p:grpSpPr>
          <p:sp>
            <p:nvSpPr>
              <p:cNvPr id="15987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0 w 512"/>
                  <a:gd name="T1" fmla="*/ 0 h 408"/>
                  <a:gd name="T2" fmla="*/ 0 w 512"/>
                  <a:gd name="T3" fmla="*/ 0 h 408"/>
                  <a:gd name="T4" fmla="*/ 0 w 512"/>
                  <a:gd name="T5" fmla="*/ 0 h 408"/>
                  <a:gd name="T6" fmla="*/ 0 w 512"/>
                  <a:gd name="T7" fmla="*/ 0 h 408"/>
                  <a:gd name="T8" fmla="*/ 0 w 512"/>
                  <a:gd name="T9" fmla="*/ 0 h 408"/>
                  <a:gd name="T10" fmla="*/ 0 w 512"/>
                  <a:gd name="T11" fmla="*/ 0 h 408"/>
                  <a:gd name="T12" fmla="*/ 0 w 512"/>
                  <a:gd name="T13" fmla="*/ 0 h 408"/>
                  <a:gd name="T14" fmla="*/ 0 w 512"/>
                  <a:gd name="T15" fmla="*/ 0 h 408"/>
                  <a:gd name="T16" fmla="*/ 0 w 512"/>
                  <a:gd name="T17" fmla="*/ 0 h 408"/>
                  <a:gd name="T18" fmla="*/ 0 w 512"/>
                  <a:gd name="T19" fmla="*/ 0 h 408"/>
                  <a:gd name="T20" fmla="*/ 0 w 512"/>
                  <a:gd name="T21" fmla="*/ 0 h 408"/>
                  <a:gd name="T22" fmla="*/ 0 w 512"/>
                  <a:gd name="T23" fmla="*/ 0 h 408"/>
                  <a:gd name="T24" fmla="*/ 0 w 512"/>
                  <a:gd name="T25" fmla="*/ 0 h 408"/>
                  <a:gd name="T26" fmla="*/ 0 w 512"/>
                  <a:gd name="T27" fmla="*/ 0 h 408"/>
                  <a:gd name="T28" fmla="*/ 0 w 512"/>
                  <a:gd name="T29" fmla="*/ 0 h 408"/>
                  <a:gd name="T30" fmla="*/ 0 w 512"/>
                  <a:gd name="T31" fmla="*/ 0 h 408"/>
                  <a:gd name="T32" fmla="*/ 0 w 512"/>
                  <a:gd name="T33" fmla="*/ 0 h 408"/>
                  <a:gd name="T34" fmla="*/ 0 w 512"/>
                  <a:gd name="T35" fmla="*/ 0 h 408"/>
                  <a:gd name="T36" fmla="*/ 0 w 512"/>
                  <a:gd name="T37" fmla="*/ 0 h 408"/>
                  <a:gd name="T38" fmla="*/ 0 w 512"/>
                  <a:gd name="T39" fmla="*/ 0 h 408"/>
                  <a:gd name="T40" fmla="*/ 0 w 512"/>
                  <a:gd name="T41" fmla="*/ 0 h 408"/>
                  <a:gd name="T42" fmla="*/ 0 w 512"/>
                  <a:gd name="T43" fmla="*/ 0 h 408"/>
                  <a:gd name="T44" fmla="*/ 0 w 512"/>
                  <a:gd name="T45" fmla="*/ 0 h 408"/>
                  <a:gd name="T46" fmla="*/ 0 w 512"/>
                  <a:gd name="T47" fmla="*/ 0 h 408"/>
                  <a:gd name="T48" fmla="*/ 0 w 512"/>
                  <a:gd name="T49" fmla="*/ 0 h 408"/>
                  <a:gd name="T50" fmla="*/ 0 w 512"/>
                  <a:gd name="T51" fmla="*/ 0 h 408"/>
                  <a:gd name="T52" fmla="*/ 0 w 512"/>
                  <a:gd name="T53" fmla="*/ 0 h 408"/>
                  <a:gd name="T54" fmla="*/ 0 w 512"/>
                  <a:gd name="T55" fmla="*/ 0 h 408"/>
                  <a:gd name="T56" fmla="*/ 0 w 512"/>
                  <a:gd name="T57" fmla="*/ 0 h 408"/>
                  <a:gd name="T58" fmla="*/ 0 w 512"/>
                  <a:gd name="T59" fmla="*/ 0 h 408"/>
                  <a:gd name="T60" fmla="*/ 0 w 512"/>
                  <a:gd name="T61" fmla="*/ 0 h 408"/>
                  <a:gd name="T62" fmla="*/ 0 w 512"/>
                  <a:gd name="T63" fmla="*/ 0 h 408"/>
                  <a:gd name="T64" fmla="*/ 0 w 512"/>
                  <a:gd name="T65" fmla="*/ 0 h 408"/>
                  <a:gd name="T66" fmla="*/ 0 w 512"/>
                  <a:gd name="T67" fmla="*/ 0 h 408"/>
                  <a:gd name="T68" fmla="*/ 0 w 512"/>
                  <a:gd name="T69" fmla="*/ 0 h 408"/>
                  <a:gd name="T70" fmla="*/ 0 w 512"/>
                  <a:gd name="T71" fmla="*/ 0 h 408"/>
                  <a:gd name="T72" fmla="*/ 0 w 512"/>
                  <a:gd name="T73" fmla="*/ 0 h 408"/>
                  <a:gd name="T74" fmla="*/ 0 w 512"/>
                  <a:gd name="T75" fmla="*/ 0 h 408"/>
                  <a:gd name="T76" fmla="*/ 0 w 512"/>
                  <a:gd name="T77" fmla="*/ 0 h 408"/>
                  <a:gd name="T78" fmla="*/ 0 w 512"/>
                  <a:gd name="T79" fmla="*/ 0 h 408"/>
                  <a:gd name="T80" fmla="*/ 0 w 512"/>
                  <a:gd name="T81" fmla="*/ 0 h 408"/>
                  <a:gd name="T82" fmla="*/ 0 w 512"/>
                  <a:gd name="T83" fmla="*/ 0 h 408"/>
                  <a:gd name="T84" fmla="*/ 0 w 512"/>
                  <a:gd name="T85" fmla="*/ 0 h 408"/>
                  <a:gd name="T86" fmla="*/ 0 w 512"/>
                  <a:gd name="T87" fmla="*/ 0 h 408"/>
                  <a:gd name="T88" fmla="*/ 0 w 512"/>
                  <a:gd name="T89" fmla="*/ 0 h 408"/>
                  <a:gd name="T90" fmla="*/ 0 w 512"/>
                  <a:gd name="T91" fmla="*/ 0 h 408"/>
                  <a:gd name="T92" fmla="*/ 0 w 512"/>
                  <a:gd name="T93" fmla="*/ 0 h 408"/>
                  <a:gd name="T94" fmla="*/ 0 w 512"/>
                  <a:gd name="T95" fmla="*/ 0 h 408"/>
                  <a:gd name="T96" fmla="*/ 0 w 512"/>
                  <a:gd name="T97" fmla="*/ 0 h 408"/>
                  <a:gd name="T98" fmla="*/ 0 w 512"/>
                  <a:gd name="T99" fmla="*/ 0 h 408"/>
                  <a:gd name="T100" fmla="*/ 0 w 512"/>
                  <a:gd name="T101" fmla="*/ 0 h 408"/>
                  <a:gd name="T102" fmla="*/ 0 w 512"/>
                  <a:gd name="T103" fmla="*/ 0 h 408"/>
                  <a:gd name="T104" fmla="*/ 0 w 512"/>
                  <a:gd name="T105" fmla="*/ 0 h 408"/>
                  <a:gd name="T106" fmla="*/ 0 w 512"/>
                  <a:gd name="T107" fmla="*/ 0 h 408"/>
                  <a:gd name="T108" fmla="*/ 0 w 512"/>
                  <a:gd name="T109" fmla="*/ 0 h 408"/>
                  <a:gd name="T110" fmla="*/ 0 w 512"/>
                  <a:gd name="T111" fmla="*/ 0 h 408"/>
                  <a:gd name="T112" fmla="*/ 0 w 512"/>
                  <a:gd name="T113" fmla="*/ 0 h 408"/>
                  <a:gd name="T114" fmla="*/ 0 w 512"/>
                  <a:gd name="T115" fmla="*/ 0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12"/>
                  <a:gd name="T175" fmla="*/ 0 h 408"/>
                  <a:gd name="T176" fmla="*/ 512 w 512"/>
                  <a:gd name="T177" fmla="*/ 408 h 40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8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0 w 232"/>
                  <a:gd name="T1" fmla="*/ 0 h 289"/>
                  <a:gd name="T2" fmla="*/ 0 w 232"/>
                  <a:gd name="T3" fmla="*/ 0 h 289"/>
                  <a:gd name="T4" fmla="*/ 0 w 232"/>
                  <a:gd name="T5" fmla="*/ 0 h 289"/>
                  <a:gd name="T6" fmla="*/ 0 w 232"/>
                  <a:gd name="T7" fmla="*/ 0 h 289"/>
                  <a:gd name="T8" fmla="*/ 0 w 232"/>
                  <a:gd name="T9" fmla="*/ 0 h 289"/>
                  <a:gd name="T10" fmla="*/ 0 w 232"/>
                  <a:gd name="T11" fmla="*/ 0 h 289"/>
                  <a:gd name="T12" fmla="*/ 0 w 232"/>
                  <a:gd name="T13" fmla="*/ 0 h 289"/>
                  <a:gd name="T14" fmla="*/ 0 w 232"/>
                  <a:gd name="T15" fmla="*/ 0 h 289"/>
                  <a:gd name="T16" fmla="*/ 0 w 232"/>
                  <a:gd name="T17" fmla="*/ 0 h 289"/>
                  <a:gd name="T18" fmla="*/ 0 w 232"/>
                  <a:gd name="T19" fmla="*/ 0 h 289"/>
                  <a:gd name="T20" fmla="*/ 0 w 232"/>
                  <a:gd name="T21" fmla="*/ 0 h 289"/>
                  <a:gd name="T22" fmla="*/ 0 w 232"/>
                  <a:gd name="T23" fmla="*/ 0 h 289"/>
                  <a:gd name="T24" fmla="*/ 0 w 232"/>
                  <a:gd name="T25" fmla="*/ 0 h 289"/>
                  <a:gd name="T26" fmla="*/ 0 w 232"/>
                  <a:gd name="T27" fmla="*/ 0 h 289"/>
                  <a:gd name="T28" fmla="*/ 0 w 232"/>
                  <a:gd name="T29" fmla="*/ 0 h 289"/>
                  <a:gd name="T30" fmla="*/ 0 w 232"/>
                  <a:gd name="T31" fmla="*/ 0 h 289"/>
                  <a:gd name="T32" fmla="*/ 0 w 232"/>
                  <a:gd name="T33" fmla="*/ 0 h 289"/>
                  <a:gd name="T34" fmla="*/ 0 w 232"/>
                  <a:gd name="T35" fmla="*/ 0 h 289"/>
                  <a:gd name="T36" fmla="*/ 0 w 232"/>
                  <a:gd name="T37" fmla="*/ 0 h 289"/>
                  <a:gd name="T38" fmla="*/ 0 w 232"/>
                  <a:gd name="T39" fmla="*/ 0 h 289"/>
                  <a:gd name="T40" fmla="*/ 0 w 232"/>
                  <a:gd name="T41" fmla="*/ 0 h 289"/>
                  <a:gd name="T42" fmla="*/ 0 w 232"/>
                  <a:gd name="T43" fmla="*/ 0 h 289"/>
                  <a:gd name="T44" fmla="*/ 0 w 232"/>
                  <a:gd name="T45" fmla="*/ 0 h 289"/>
                  <a:gd name="T46" fmla="*/ 0 w 232"/>
                  <a:gd name="T47" fmla="*/ 0 h 289"/>
                  <a:gd name="T48" fmla="*/ 0 w 232"/>
                  <a:gd name="T49" fmla="*/ 0 h 289"/>
                  <a:gd name="T50" fmla="*/ 0 w 232"/>
                  <a:gd name="T51" fmla="*/ 0 h 289"/>
                  <a:gd name="T52" fmla="*/ 0 w 232"/>
                  <a:gd name="T53" fmla="*/ 0 h 289"/>
                  <a:gd name="T54" fmla="*/ 0 w 232"/>
                  <a:gd name="T55" fmla="*/ 0 h 289"/>
                  <a:gd name="T56" fmla="*/ 0 w 232"/>
                  <a:gd name="T57" fmla="*/ 0 h 289"/>
                  <a:gd name="T58" fmla="*/ 0 w 232"/>
                  <a:gd name="T59" fmla="*/ 0 h 289"/>
                  <a:gd name="T60" fmla="*/ 0 w 232"/>
                  <a:gd name="T61" fmla="*/ 0 h 289"/>
                  <a:gd name="T62" fmla="*/ 0 w 232"/>
                  <a:gd name="T63" fmla="*/ 0 h 289"/>
                  <a:gd name="T64" fmla="*/ 0 w 232"/>
                  <a:gd name="T65" fmla="*/ 0 h 289"/>
                  <a:gd name="T66" fmla="*/ 0 w 232"/>
                  <a:gd name="T67" fmla="*/ 0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32"/>
                  <a:gd name="T103" fmla="*/ 0 h 289"/>
                  <a:gd name="T104" fmla="*/ 232 w 232"/>
                  <a:gd name="T105" fmla="*/ 289 h 28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12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049"/>
                <a:gd name="T187" fmla="*/ 0 h 2048"/>
                <a:gd name="T188" fmla="*/ 7049 w 7049"/>
                <a:gd name="T189" fmla="*/ 2048 h 20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3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47"/>
                <a:gd name="T172" fmla="*/ 0 h 470"/>
                <a:gd name="T173" fmla="*/ 647 w 647"/>
                <a:gd name="T174" fmla="*/ 470 h 4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4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79"/>
                <a:gd name="T169" fmla="*/ 0 h 868"/>
                <a:gd name="T170" fmla="*/ 479 w 479"/>
                <a:gd name="T171" fmla="*/ 868 h 8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5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6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17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4"/>
                <a:gd name="T17" fmla="*/ 6 w 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8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67"/>
                <a:gd name="T53" fmla="*/ 47 w 47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9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2"/>
                <a:gd name="T73" fmla="*/ 0 h 36"/>
                <a:gd name="T74" fmla="*/ 112 w 112"/>
                <a:gd name="T75" fmla="*/ 36 h 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0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6"/>
                <a:gd name="T175" fmla="*/ 0 h 863"/>
                <a:gd name="T176" fmla="*/ 2006 w 2006"/>
                <a:gd name="T177" fmla="*/ 863 h 8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1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50"/>
                <a:gd name="T109" fmla="*/ 0 h 468"/>
                <a:gd name="T110" fmla="*/ 950 w 950"/>
                <a:gd name="T111" fmla="*/ 468 h 4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2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1"/>
                <a:gd name="T187" fmla="*/ 0 h 549"/>
                <a:gd name="T188" fmla="*/ 671 w 671"/>
                <a:gd name="T189" fmla="*/ 549 h 54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3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8"/>
                <a:gd name="T184" fmla="*/ 0 h 327"/>
                <a:gd name="T185" fmla="*/ 358 w 358"/>
                <a:gd name="T186" fmla="*/ 327 h 3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4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2147483647 h 99"/>
                <a:gd name="T6" fmla="*/ 2147483647 w 292"/>
                <a:gd name="T7" fmla="*/ 2147483647 h 99"/>
                <a:gd name="T8" fmla="*/ 2147483647 w 292"/>
                <a:gd name="T9" fmla="*/ 2147483647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2147483647 w 292"/>
                <a:gd name="T31" fmla="*/ 2147483647 h 99"/>
                <a:gd name="T32" fmla="*/ 2147483647 w 292"/>
                <a:gd name="T33" fmla="*/ 2147483647 h 99"/>
                <a:gd name="T34" fmla="*/ 2147483647 w 292"/>
                <a:gd name="T35" fmla="*/ 2147483647 h 99"/>
                <a:gd name="T36" fmla="*/ 0 w 292"/>
                <a:gd name="T37" fmla="*/ 2147483647 h 99"/>
                <a:gd name="T38" fmla="*/ 2147483647 w 292"/>
                <a:gd name="T39" fmla="*/ 2147483647 h 99"/>
                <a:gd name="T40" fmla="*/ 2147483647 w 292"/>
                <a:gd name="T41" fmla="*/ 2147483647 h 99"/>
                <a:gd name="T42" fmla="*/ 2147483647 w 292"/>
                <a:gd name="T43" fmla="*/ 2147483647 h 99"/>
                <a:gd name="T44" fmla="*/ 2147483647 w 292"/>
                <a:gd name="T45" fmla="*/ 2147483647 h 99"/>
                <a:gd name="T46" fmla="*/ 2147483647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2147483647 h 99"/>
                <a:gd name="T60" fmla="*/ 2147483647 w 292"/>
                <a:gd name="T61" fmla="*/ 2147483647 h 99"/>
                <a:gd name="T62" fmla="*/ 2147483647 w 292"/>
                <a:gd name="T63" fmla="*/ 214748364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92"/>
                <a:gd name="T97" fmla="*/ 0 h 99"/>
                <a:gd name="T98" fmla="*/ 292 w 292"/>
                <a:gd name="T99" fmla="*/ 99 h 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5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"/>
                <a:gd name="T148" fmla="*/ 0 h 93"/>
                <a:gd name="T149" fmla="*/ 43 w 43"/>
                <a:gd name="T150" fmla="*/ 93 h 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6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56"/>
                <a:gd name="T59" fmla="*/ 40 w 40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7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6"/>
                <a:gd name="T139" fmla="*/ 0 h 71"/>
                <a:gd name="T140" fmla="*/ 106 w 106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28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15985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0 h 43"/>
                  <a:gd name="T2" fmla="*/ 0 w 59"/>
                  <a:gd name="T3" fmla="*/ 0 h 43"/>
                  <a:gd name="T4" fmla="*/ 0 w 59"/>
                  <a:gd name="T5" fmla="*/ 0 h 43"/>
                  <a:gd name="T6" fmla="*/ 0 w 59"/>
                  <a:gd name="T7" fmla="*/ 0 h 43"/>
                  <a:gd name="T8" fmla="*/ 0 w 59"/>
                  <a:gd name="T9" fmla="*/ 0 h 43"/>
                  <a:gd name="T10" fmla="*/ 0 w 59"/>
                  <a:gd name="T11" fmla="*/ 0 h 43"/>
                  <a:gd name="T12" fmla="*/ 0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0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9"/>
                  <a:gd name="T61" fmla="*/ 0 h 43"/>
                  <a:gd name="T62" fmla="*/ 59 w 59"/>
                  <a:gd name="T63" fmla="*/ 43 h 4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6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0 w 67"/>
                  <a:gd name="T7" fmla="*/ 0 h 51"/>
                  <a:gd name="T8" fmla="*/ 0 w 67"/>
                  <a:gd name="T9" fmla="*/ 0 h 51"/>
                  <a:gd name="T10" fmla="*/ 0 w 67"/>
                  <a:gd name="T11" fmla="*/ 0 h 51"/>
                  <a:gd name="T12" fmla="*/ 0 w 67"/>
                  <a:gd name="T13" fmla="*/ 0 h 51"/>
                  <a:gd name="T14" fmla="*/ 0 w 67"/>
                  <a:gd name="T15" fmla="*/ 0 h 51"/>
                  <a:gd name="T16" fmla="*/ 0 w 67"/>
                  <a:gd name="T17" fmla="*/ 0 h 51"/>
                  <a:gd name="T18" fmla="*/ 0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0 h 51"/>
                  <a:gd name="T36" fmla="*/ 0 w 67"/>
                  <a:gd name="T37" fmla="*/ 0 h 51"/>
                  <a:gd name="T38" fmla="*/ 0 w 67"/>
                  <a:gd name="T39" fmla="*/ 0 h 51"/>
                  <a:gd name="T40" fmla="*/ 0 w 67"/>
                  <a:gd name="T41" fmla="*/ 0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7"/>
                  <a:gd name="T67" fmla="*/ 0 h 51"/>
                  <a:gd name="T68" fmla="*/ 67 w 67"/>
                  <a:gd name="T69" fmla="*/ 51 h 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29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"/>
                <a:gd name="T94" fmla="*/ 0 h 34"/>
                <a:gd name="T95" fmla="*/ 80 w 80"/>
                <a:gd name="T96" fmla="*/ 34 h 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0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7"/>
                <a:gd name="T10" fmla="*/ 0 h 13"/>
                <a:gd name="T11" fmla="*/ 7 w 7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1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6"/>
                <a:gd name="T14" fmla="*/ 20 w 2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2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3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4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27"/>
                <a:gd name="T10" fmla="*/ 0 h 6"/>
                <a:gd name="T11" fmla="*/ 27 w 27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5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36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37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4"/>
                <a:gd name="T29" fmla="*/ 20 w 2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8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9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8"/>
                <a:gd name="T38" fmla="*/ 40 w 4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0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32"/>
                <a:gd name="T47" fmla="*/ 11 w 11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1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24"/>
                <a:gd name="T14" fmla="*/ 14 w 1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2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18"/>
                <a:gd name="T35" fmla="*/ 27 w 2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3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7"/>
                <a:gd name="T73" fmla="*/ 0 h 49"/>
                <a:gd name="T74" fmla="*/ 47 w 4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4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9"/>
                <a:gd name="T32" fmla="*/ 26 w 2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5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18"/>
                <a:gd name="T44" fmla="*/ 39 w 39"/>
                <a:gd name="T45" fmla="*/ 18 h 1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46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15975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0 w 52"/>
                  <a:gd name="T15" fmla="*/ 0 h 25"/>
                  <a:gd name="T16" fmla="*/ 0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2"/>
                  <a:gd name="T52" fmla="*/ 0 h 25"/>
                  <a:gd name="T53" fmla="*/ 52 w 52"/>
                  <a:gd name="T54" fmla="*/ 25 h 2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6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3"/>
                  <a:gd name="T35" fmla="*/ 33 w 33"/>
                  <a:gd name="T36" fmla="*/ 13 h 1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7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0 w 67"/>
                  <a:gd name="T21" fmla="*/ 0 h 86"/>
                  <a:gd name="T22" fmla="*/ 0 w 67"/>
                  <a:gd name="T23" fmla="*/ 0 h 86"/>
                  <a:gd name="T24" fmla="*/ 0 w 67"/>
                  <a:gd name="T25" fmla="*/ 0 h 86"/>
                  <a:gd name="T26" fmla="*/ 0 w 67"/>
                  <a:gd name="T27" fmla="*/ 0 h 86"/>
                  <a:gd name="T28" fmla="*/ 0 w 67"/>
                  <a:gd name="T29" fmla="*/ 0 h 86"/>
                  <a:gd name="T30" fmla="*/ 0 w 67"/>
                  <a:gd name="T31" fmla="*/ 0 h 86"/>
                  <a:gd name="T32" fmla="*/ 0 w 67"/>
                  <a:gd name="T33" fmla="*/ 0 h 86"/>
                  <a:gd name="T34" fmla="*/ 0 w 67"/>
                  <a:gd name="T35" fmla="*/ 0 h 86"/>
                  <a:gd name="T36" fmla="*/ 0 w 67"/>
                  <a:gd name="T37" fmla="*/ 0 h 86"/>
                  <a:gd name="T38" fmla="*/ 0 w 67"/>
                  <a:gd name="T39" fmla="*/ 0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7"/>
                  <a:gd name="T88" fmla="*/ 0 h 86"/>
                  <a:gd name="T89" fmla="*/ 67 w 67"/>
                  <a:gd name="T90" fmla="*/ 86 h 8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8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0 h 86"/>
                  <a:gd name="T18" fmla="*/ 0 w 49"/>
                  <a:gd name="T19" fmla="*/ 0 h 86"/>
                  <a:gd name="T20" fmla="*/ 0 w 49"/>
                  <a:gd name="T21" fmla="*/ 0 h 86"/>
                  <a:gd name="T22" fmla="*/ 0 w 49"/>
                  <a:gd name="T23" fmla="*/ 0 h 86"/>
                  <a:gd name="T24" fmla="*/ 0 w 49"/>
                  <a:gd name="T25" fmla="*/ 0 h 86"/>
                  <a:gd name="T26" fmla="*/ 0 w 49"/>
                  <a:gd name="T27" fmla="*/ 0 h 86"/>
                  <a:gd name="T28" fmla="*/ 0 w 49"/>
                  <a:gd name="T29" fmla="*/ 0 h 86"/>
                  <a:gd name="T30" fmla="*/ 0 w 49"/>
                  <a:gd name="T31" fmla="*/ 0 h 86"/>
                  <a:gd name="T32" fmla="*/ 0 w 49"/>
                  <a:gd name="T33" fmla="*/ 0 h 86"/>
                  <a:gd name="T34" fmla="*/ 0 w 49"/>
                  <a:gd name="T35" fmla="*/ 0 h 86"/>
                  <a:gd name="T36" fmla="*/ 0 w 49"/>
                  <a:gd name="T37" fmla="*/ 0 h 86"/>
                  <a:gd name="T38" fmla="*/ 0 w 49"/>
                  <a:gd name="T39" fmla="*/ 0 h 86"/>
                  <a:gd name="T40" fmla="*/ 0 w 49"/>
                  <a:gd name="T41" fmla="*/ 0 h 86"/>
                  <a:gd name="T42" fmla="*/ 0 w 49"/>
                  <a:gd name="T43" fmla="*/ 0 h 86"/>
                  <a:gd name="T44" fmla="*/ 0 w 49"/>
                  <a:gd name="T45" fmla="*/ 0 h 86"/>
                  <a:gd name="T46" fmla="*/ 0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9"/>
                  <a:gd name="T82" fmla="*/ 0 h 86"/>
                  <a:gd name="T83" fmla="*/ 49 w 49"/>
                  <a:gd name="T84" fmla="*/ 86 h 8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9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12"/>
                  <a:gd name="T26" fmla="*/ 6 w 6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0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0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48"/>
                  <a:gd name="T41" fmla="*/ 39 w 39"/>
                  <a:gd name="T42" fmla="*/ 48 h 4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1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0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43"/>
                  <a:gd name="T41" fmla="*/ 16 w 16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2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4"/>
                  <a:gd name="T46" fmla="*/ 0 h 37"/>
                  <a:gd name="T47" fmla="*/ 24 w 24"/>
                  <a:gd name="T48" fmla="*/ 37 h 3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3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0 h 55"/>
                  <a:gd name="T14" fmla="*/ 0 w 34"/>
                  <a:gd name="T15" fmla="*/ 0 h 55"/>
                  <a:gd name="T16" fmla="*/ 0 w 34"/>
                  <a:gd name="T17" fmla="*/ 0 h 55"/>
                  <a:gd name="T18" fmla="*/ 0 w 34"/>
                  <a:gd name="T19" fmla="*/ 0 h 55"/>
                  <a:gd name="T20" fmla="*/ 0 w 34"/>
                  <a:gd name="T21" fmla="*/ 0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55"/>
                  <a:gd name="T53" fmla="*/ 34 w 34"/>
                  <a:gd name="T54" fmla="*/ 55 h 5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4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2"/>
                  <a:gd name="T35" fmla="*/ 33 w 33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47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2147483647 w 33"/>
                <a:gd name="T13" fmla="*/ 2147483647 h 62"/>
                <a:gd name="T14" fmla="*/ 2147483647 w 33"/>
                <a:gd name="T15" fmla="*/ 2147483647 h 62"/>
                <a:gd name="T16" fmla="*/ 2147483647 w 33"/>
                <a:gd name="T17" fmla="*/ 2147483647 h 62"/>
                <a:gd name="T18" fmla="*/ 2147483647 w 33"/>
                <a:gd name="T19" fmla="*/ 2147483647 h 62"/>
                <a:gd name="T20" fmla="*/ 2147483647 w 33"/>
                <a:gd name="T21" fmla="*/ 0 h 62"/>
                <a:gd name="T22" fmla="*/ 2147483647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62"/>
                <a:gd name="T41" fmla="*/ 33 w 33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8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2147483647 w 26"/>
                <a:gd name="T5" fmla="*/ 0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8"/>
                <a:gd name="T17" fmla="*/ 26 w 26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9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0"/>
                <a:gd name="T160" fmla="*/ 0 h 240"/>
                <a:gd name="T161" fmla="*/ 180 w 180"/>
                <a:gd name="T162" fmla="*/ 240 h 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0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0"/>
                <a:gd name="T47" fmla="*/ 27 w 27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51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15972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0 h 33"/>
                  <a:gd name="T2" fmla="*/ 0 w 53"/>
                  <a:gd name="T3" fmla="*/ 0 h 33"/>
                  <a:gd name="T4" fmla="*/ 0 w 53"/>
                  <a:gd name="T5" fmla="*/ 0 h 33"/>
                  <a:gd name="T6" fmla="*/ 0 w 53"/>
                  <a:gd name="T7" fmla="*/ 0 h 33"/>
                  <a:gd name="T8" fmla="*/ 0 w 53"/>
                  <a:gd name="T9" fmla="*/ 0 h 33"/>
                  <a:gd name="T10" fmla="*/ 0 w 53"/>
                  <a:gd name="T11" fmla="*/ 0 h 33"/>
                  <a:gd name="T12" fmla="*/ 0 w 53"/>
                  <a:gd name="T13" fmla="*/ 0 h 33"/>
                  <a:gd name="T14" fmla="*/ 0 w 53"/>
                  <a:gd name="T15" fmla="*/ 0 h 33"/>
                  <a:gd name="T16" fmla="*/ 0 w 53"/>
                  <a:gd name="T17" fmla="*/ 0 h 33"/>
                  <a:gd name="T18" fmla="*/ 0 w 53"/>
                  <a:gd name="T19" fmla="*/ 0 h 33"/>
                  <a:gd name="T20" fmla="*/ 0 w 53"/>
                  <a:gd name="T21" fmla="*/ 0 h 33"/>
                  <a:gd name="T22" fmla="*/ 0 w 53"/>
                  <a:gd name="T23" fmla="*/ 0 h 33"/>
                  <a:gd name="T24" fmla="*/ 0 w 53"/>
                  <a:gd name="T25" fmla="*/ 0 h 33"/>
                  <a:gd name="T26" fmla="*/ 0 w 53"/>
                  <a:gd name="T27" fmla="*/ 0 h 33"/>
                  <a:gd name="T28" fmla="*/ 0 w 53"/>
                  <a:gd name="T29" fmla="*/ 0 h 33"/>
                  <a:gd name="T30" fmla="*/ 0 w 53"/>
                  <a:gd name="T31" fmla="*/ 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3"/>
                  <a:gd name="T49" fmla="*/ 0 h 33"/>
                  <a:gd name="T50" fmla="*/ 53 w 53"/>
                  <a:gd name="T51" fmla="*/ 33 h 3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3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0 w 631"/>
                  <a:gd name="T1" fmla="*/ 0 h 358"/>
                  <a:gd name="T2" fmla="*/ 0 w 631"/>
                  <a:gd name="T3" fmla="*/ 0 h 358"/>
                  <a:gd name="T4" fmla="*/ 0 w 631"/>
                  <a:gd name="T5" fmla="*/ 0 h 358"/>
                  <a:gd name="T6" fmla="*/ 0 w 631"/>
                  <a:gd name="T7" fmla="*/ 0 h 358"/>
                  <a:gd name="T8" fmla="*/ 0 w 631"/>
                  <a:gd name="T9" fmla="*/ 0 h 358"/>
                  <a:gd name="T10" fmla="*/ 0 w 631"/>
                  <a:gd name="T11" fmla="*/ 0 h 358"/>
                  <a:gd name="T12" fmla="*/ 0 w 631"/>
                  <a:gd name="T13" fmla="*/ 0 h 358"/>
                  <a:gd name="T14" fmla="*/ 0 w 631"/>
                  <a:gd name="T15" fmla="*/ 0 h 358"/>
                  <a:gd name="T16" fmla="*/ 0 w 631"/>
                  <a:gd name="T17" fmla="*/ 0 h 358"/>
                  <a:gd name="T18" fmla="*/ 0 w 631"/>
                  <a:gd name="T19" fmla="*/ 0 h 358"/>
                  <a:gd name="T20" fmla="*/ 0 w 631"/>
                  <a:gd name="T21" fmla="*/ 0 h 358"/>
                  <a:gd name="T22" fmla="*/ 0 w 631"/>
                  <a:gd name="T23" fmla="*/ 0 h 358"/>
                  <a:gd name="T24" fmla="*/ 0 w 631"/>
                  <a:gd name="T25" fmla="*/ 0 h 358"/>
                  <a:gd name="T26" fmla="*/ 0 w 631"/>
                  <a:gd name="T27" fmla="*/ 0 h 358"/>
                  <a:gd name="T28" fmla="*/ 0 w 631"/>
                  <a:gd name="T29" fmla="*/ 0 h 358"/>
                  <a:gd name="T30" fmla="*/ 0 w 631"/>
                  <a:gd name="T31" fmla="*/ 0 h 358"/>
                  <a:gd name="T32" fmla="*/ 0 w 631"/>
                  <a:gd name="T33" fmla="*/ 0 h 358"/>
                  <a:gd name="T34" fmla="*/ 0 w 631"/>
                  <a:gd name="T35" fmla="*/ 0 h 358"/>
                  <a:gd name="T36" fmla="*/ 0 w 631"/>
                  <a:gd name="T37" fmla="*/ 0 h 358"/>
                  <a:gd name="T38" fmla="*/ 0 w 631"/>
                  <a:gd name="T39" fmla="*/ 0 h 358"/>
                  <a:gd name="T40" fmla="*/ 0 w 631"/>
                  <a:gd name="T41" fmla="*/ 0 h 358"/>
                  <a:gd name="T42" fmla="*/ 0 w 631"/>
                  <a:gd name="T43" fmla="*/ 0 h 358"/>
                  <a:gd name="T44" fmla="*/ 0 w 631"/>
                  <a:gd name="T45" fmla="*/ 0 h 358"/>
                  <a:gd name="T46" fmla="*/ 0 w 631"/>
                  <a:gd name="T47" fmla="*/ 0 h 358"/>
                  <a:gd name="T48" fmla="*/ 0 w 631"/>
                  <a:gd name="T49" fmla="*/ 0 h 358"/>
                  <a:gd name="T50" fmla="*/ 0 w 631"/>
                  <a:gd name="T51" fmla="*/ 0 h 358"/>
                  <a:gd name="T52" fmla="*/ 0 w 631"/>
                  <a:gd name="T53" fmla="*/ 0 h 358"/>
                  <a:gd name="T54" fmla="*/ 0 w 631"/>
                  <a:gd name="T55" fmla="*/ 0 h 358"/>
                  <a:gd name="T56" fmla="*/ 0 w 631"/>
                  <a:gd name="T57" fmla="*/ 0 h 358"/>
                  <a:gd name="T58" fmla="*/ 0 w 631"/>
                  <a:gd name="T59" fmla="*/ 0 h 358"/>
                  <a:gd name="T60" fmla="*/ 0 w 631"/>
                  <a:gd name="T61" fmla="*/ 0 h 358"/>
                  <a:gd name="T62" fmla="*/ 0 w 631"/>
                  <a:gd name="T63" fmla="*/ 0 h 358"/>
                  <a:gd name="T64" fmla="*/ 0 w 631"/>
                  <a:gd name="T65" fmla="*/ 0 h 358"/>
                  <a:gd name="T66" fmla="*/ 0 w 631"/>
                  <a:gd name="T67" fmla="*/ 0 h 358"/>
                  <a:gd name="T68" fmla="*/ 0 w 631"/>
                  <a:gd name="T69" fmla="*/ 0 h 358"/>
                  <a:gd name="T70" fmla="*/ 0 w 631"/>
                  <a:gd name="T71" fmla="*/ 0 h 358"/>
                  <a:gd name="T72" fmla="*/ 0 w 631"/>
                  <a:gd name="T73" fmla="*/ 0 h 358"/>
                  <a:gd name="T74" fmla="*/ 0 w 631"/>
                  <a:gd name="T75" fmla="*/ 0 h 358"/>
                  <a:gd name="T76" fmla="*/ 0 w 631"/>
                  <a:gd name="T77" fmla="*/ 0 h 358"/>
                  <a:gd name="T78" fmla="*/ 0 w 631"/>
                  <a:gd name="T79" fmla="*/ 0 h 358"/>
                  <a:gd name="T80" fmla="*/ 0 w 631"/>
                  <a:gd name="T81" fmla="*/ 0 h 358"/>
                  <a:gd name="T82" fmla="*/ 0 w 631"/>
                  <a:gd name="T83" fmla="*/ 0 h 358"/>
                  <a:gd name="T84" fmla="*/ 0 w 631"/>
                  <a:gd name="T85" fmla="*/ 0 h 358"/>
                  <a:gd name="T86" fmla="*/ 0 w 631"/>
                  <a:gd name="T87" fmla="*/ 0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31"/>
                  <a:gd name="T133" fmla="*/ 0 h 358"/>
                  <a:gd name="T134" fmla="*/ 631 w 631"/>
                  <a:gd name="T135" fmla="*/ 358 h 35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4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0 w 359"/>
                  <a:gd name="T1" fmla="*/ 0 h 431"/>
                  <a:gd name="T2" fmla="*/ 0 w 359"/>
                  <a:gd name="T3" fmla="*/ 0 h 431"/>
                  <a:gd name="T4" fmla="*/ 0 w 359"/>
                  <a:gd name="T5" fmla="*/ 0 h 431"/>
                  <a:gd name="T6" fmla="*/ 0 w 359"/>
                  <a:gd name="T7" fmla="*/ 0 h 431"/>
                  <a:gd name="T8" fmla="*/ 0 w 359"/>
                  <a:gd name="T9" fmla="*/ 0 h 431"/>
                  <a:gd name="T10" fmla="*/ 0 w 359"/>
                  <a:gd name="T11" fmla="*/ 0 h 431"/>
                  <a:gd name="T12" fmla="*/ 0 w 359"/>
                  <a:gd name="T13" fmla="*/ 0 h 431"/>
                  <a:gd name="T14" fmla="*/ 0 w 359"/>
                  <a:gd name="T15" fmla="*/ 0 h 431"/>
                  <a:gd name="T16" fmla="*/ 0 w 359"/>
                  <a:gd name="T17" fmla="*/ 0 h 431"/>
                  <a:gd name="T18" fmla="*/ 0 w 359"/>
                  <a:gd name="T19" fmla="*/ 0 h 431"/>
                  <a:gd name="T20" fmla="*/ 0 w 359"/>
                  <a:gd name="T21" fmla="*/ 0 h 431"/>
                  <a:gd name="T22" fmla="*/ 0 w 359"/>
                  <a:gd name="T23" fmla="*/ 0 h 431"/>
                  <a:gd name="T24" fmla="*/ 0 w 359"/>
                  <a:gd name="T25" fmla="*/ 0 h 431"/>
                  <a:gd name="T26" fmla="*/ 0 w 359"/>
                  <a:gd name="T27" fmla="*/ 0 h 431"/>
                  <a:gd name="T28" fmla="*/ 0 w 359"/>
                  <a:gd name="T29" fmla="*/ 0 h 431"/>
                  <a:gd name="T30" fmla="*/ 0 w 359"/>
                  <a:gd name="T31" fmla="*/ 0 h 431"/>
                  <a:gd name="T32" fmla="*/ 0 w 359"/>
                  <a:gd name="T33" fmla="*/ 0 h 431"/>
                  <a:gd name="T34" fmla="*/ 0 w 359"/>
                  <a:gd name="T35" fmla="*/ 0 h 431"/>
                  <a:gd name="T36" fmla="*/ 0 w 359"/>
                  <a:gd name="T37" fmla="*/ 0 h 431"/>
                  <a:gd name="T38" fmla="*/ 0 w 359"/>
                  <a:gd name="T39" fmla="*/ 0 h 431"/>
                  <a:gd name="T40" fmla="*/ 0 w 359"/>
                  <a:gd name="T41" fmla="*/ 0 h 431"/>
                  <a:gd name="T42" fmla="*/ 0 w 359"/>
                  <a:gd name="T43" fmla="*/ 0 h 431"/>
                  <a:gd name="T44" fmla="*/ 0 w 359"/>
                  <a:gd name="T45" fmla="*/ 0 h 431"/>
                  <a:gd name="T46" fmla="*/ 0 w 359"/>
                  <a:gd name="T47" fmla="*/ 0 h 431"/>
                  <a:gd name="T48" fmla="*/ 0 w 359"/>
                  <a:gd name="T49" fmla="*/ 0 h 431"/>
                  <a:gd name="T50" fmla="*/ 0 w 359"/>
                  <a:gd name="T51" fmla="*/ 0 h 431"/>
                  <a:gd name="T52" fmla="*/ 0 w 359"/>
                  <a:gd name="T53" fmla="*/ 0 h 431"/>
                  <a:gd name="T54" fmla="*/ 0 w 359"/>
                  <a:gd name="T55" fmla="*/ 0 h 431"/>
                  <a:gd name="T56" fmla="*/ 0 w 359"/>
                  <a:gd name="T57" fmla="*/ 0 h 431"/>
                  <a:gd name="T58" fmla="*/ 0 w 359"/>
                  <a:gd name="T59" fmla="*/ 0 h 431"/>
                  <a:gd name="T60" fmla="*/ 0 w 359"/>
                  <a:gd name="T61" fmla="*/ 0 h 431"/>
                  <a:gd name="T62" fmla="*/ 0 w 359"/>
                  <a:gd name="T63" fmla="*/ 0 h 431"/>
                  <a:gd name="T64" fmla="*/ 0 w 359"/>
                  <a:gd name="T65" fmla="*/ 0 h 431"/>
                  <a:gd name="T66" fmla="*/ 0 w 359"/>
                  <a:gd name="T67" fmla="*/ 0 h 431"/>
                  <a:gd name="T68" fmla="*/ 0 w 359"/>
                  <a:gd name="T69" fmla="*/ 0 h 431"/>
                  <a:gd name="T70" fmla="*/ 0 w 359"/>
                  <a:gd name="T71" fmla="*/ 0 h 431"/>
                  <a:gd name="T72" fmla="*/ 0 w 359"/>
                  <a:gd name="T73" fmla="*/ 0 h 431"/>
                  <a:gd name="T74" fmla="*/ 0 w 359"/>
                  <a:gd name="T75" fmla="*/ 0 h 431"/>
                  <a:gd name="T76" fmla="*/ 0 w 359"/>
                  <a:gd name="T77" fmla="*/ 0 h 431"/>
                  <a:gd name="T78" fmla="*/ 0 w 359"/>
                  <a:gd name="T79" fmla="*/ 0 h 431"/>
                  <a:gd name="T80" fmla="*/ 0 w 359"/>
                  <a:gd name="T81" fmla="*/ 0 h 431"/>
                  <a:gd name="T82" fmla="*/ 0 w 359"/>
                  <a:gd name="T83" fmla="*/ 0 h 431"/>
                  <a:gd name="T84" fmla="*/ 0 w 359"/>
                  <a:gd name="T85" fmla="*/ 0 h 431"/>
                  <a:gd name="T86" fmla="*/ 0 w 359"/>
                  <a:gd name="T87" fmla="*/ 0 h 431"/>
                  <a:gd name="T88" fmla="*/ 0 w 359"/>
                  <a:gd name="T89" fmla="*/ 0 h 431"/>
                  <a:gd name="T90" fmla="*/ 0 w 359"/>
                  <a:gd name="T91" fmla="*/ 0 h 431"/>
                  <a:gd name="T92" fmla="*/ 0 w 359"/>
                  <a:gd name="T93" fmla="*/ 0 h 431"/>
                  <a:gd name="T94" fmla="*/ 0 w 359"/>
                  <a:gd name="T95" fmla="*/ 0 h 431"/>
                  <a:gd name="T96" fmla="*/ 0 w 359"/>
                  <a:gd name="T97" fmla="*/ 0 h 431"/>
                  <a:gd name="T98" fmla="*/ 0 w 359"/>
                  <a:gd name="T99" fmla="*/ 0 h 431"/>
                  <a:gd name="T100" fmla="*/ 0 w 359"/>
                  <a:gd name="T101" fmla="*/ 0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59"/>
                  <a:gd name="T154" fmla="*/ 0 h 431"/>
                  <a:gd name="T155" fmla="*/ 359 w 359"/>
                  <a:gd name="T156" fmla="*/ 431 h 43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52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3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24"/>
                <a:gd name="T38" fmla="*/ 33 w 33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4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5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  <a:gd name="T9" fmla="*/ 0 w 7"/>
                <a:gd name="T10" fmla="*/ 0 h 55563"/>
                <a:gd name="T11" fmla="*/ 7 w 7"/>
                <a:gd name="T12" fmla="*/ 55563 h 555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6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"/>
                <a:gd name="T46" fmla="*/ 0 h 25"/>
                <a:gd name="T47" fmla="*/ 16 w 1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7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8"/>
                <a:gd name="T26" fmla="*/ 14 w 14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8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2147483647 w 67"/>
                <a:gd name="T3" fmla="*/ 2147483647 h 74"/>
                <a:gd name="T4" fmla="*/ 2147483647 w 67"/>
                <a:gd name="T5" fmla="*/ 2147483647 h 74"/>
                <a:gd name="T6" fmla="*/ 2147483647 w 67"/>
                <a:gd name="T7" fmla="*/ 2147483647 h 74"/>
                <a:gd name="T8" fmla="*/ 2147483647 w 67"/>
                <a:gd name="T9" fmla="*/ 2147483647 h 74"/>
                <a:gd name="T10" fmla="*/ 2147483647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214748364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74"/>
                <a:gd name="T71" fmla="*/ 67 w 67"/>
                <a:gd name="T72" fmla="*/ 74 h 7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9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4"/>
                <a:gd name="T70" fmla="*/ 0 h 38"/>
                <a:gd name="T71" fmla="*/ 34 w 34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0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23"/>
                <a:gd name="T35" fmla="*/ 53 w 5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1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2147483647 w 26"/>
                <a:gd name="T3" fmla="*/ 2147483647 h 12"/>
                <a:gd name="T4" fmla="*/ 2147483647 w 26"/>
                <a:gd name="T5" fmla="*/ 2147483647 h 12"/>
                <a:gd name="T6" fmla="*/ 2147483647 w 26"/>
                <a:gd name="T7" fmla="*/ 2147483647 h 12"/>
                <a:gd name="T8" fmla="*/ 214748364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2147483647 w 26"/>
                <a:gd name="T17" fmla="*/ 2147483647 h 12"/>
                <a:gd name="T18" fmla="*/ 2147483647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2"/>
                <a:gd name="T35" fmla="*/ 26 w 26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2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57150"/>
                <a:gd name="T17" fmla="*/ 73 w 73"/>
                <a:gd name="T18" fmla="*/ 57150 h 5715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3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2147483647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"/>
                <a:gd name="T23" fmla="*/ 53 w 5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4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65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1588"/>
                <a:gd name="T10" fmla="*/ 0 h 13"/>
                <a:gd name="T11" fmla="*/ 1588 w 1588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6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  <a:gd name="T9" fmla="*/ 0 w 26"/>
                <a:gd name="T10" fmla="*/ 0 h 58738"/>
                <a:gd name="T11" fmla="*/ 26 w 26"/>
                <a:gd name="T12" fmla="*/ 58738 h 5873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7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25"/>
                <a:gd name="T23" fmla="*/ 20 w 20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8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4"/>
                <a:gd name="T14" fmla="*/ 6 w 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69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15963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25"/>
                  <a:gd name="T44" fmla="*/ 19 w 19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4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18"/>
                  <a:gd name="T26" fmla="*/ 26 w 26"/>
                  <a:gd name="T27" fmla="*/ 18 h 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5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8"/>
                  <a:gd name="T11" fmla="*/ 13 w 13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6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24"/>
                  <a:gd name="T32" fmla="*/ 26 w 2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7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6"/>
                  <a:gd name="T17" fmla="*/ 34 w 3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8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9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9"/>
                  <a:gd name="T11" fmla="*/ 1 w 1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0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1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6"/>
                  <a:gd name="T11" fmla="*/ 14 w 14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70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"/>
                <a:gd name="T73" fmla="*/ 0 h 111"/>
                <a:gd name="T74" fmla="*/ 26 w 26"/>
                <a:gd name="T75" fmla="*/ 111 h 11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1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2147483647 h 62"/>
                <a:gd name="T2" fmla="*/ 2147483647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6"/>
                <a:gd name="T85" fmla="*/ 0 h 62"/>
                <a:gd name="T86" fmla="*/ 126 w 12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2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2147483647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2147483647 w 66"/>
                <a:gd name="T33" fmla="*/ 2147483647 h 44"/>
                <a:gd name="T34" fmla="*/ 2147483647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6"/>
                <a:gd name="T70" fmla="*/ 0 h 44"/>
                <a:gd name="T71" fmla="*/ 66 w 66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3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16"/>
                <a:gd name="T38" fmla="*/ 46 w 46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4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6"/>
                <a:gd name="T47" fmla="*/ 39 w 39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5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5"/>
                <a:gd name="T41" fmla="*/ 11 w 11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6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31"/>
                <a:gd name="T41" fmla="*/ 20 w 20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7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37"/>
                <a:gd name="T38" fmla="*/ 26 w 26"/>
                <a:gd name="T39" fmla="*/ 37 h 3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8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8"/>
                <a:gd name="T14" fmla="*/ 7 w 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9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31"/>
                <a:gd name="T38" fmla="*/ 33 w 3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0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1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2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7"/>
                <a:gd name="T76" fmla="*/ 0 h 68"/>
                <a:gd name="T77" fmla="*/ 47 w 47"/>
                <a:gd name="T78" fmla="*/ 68 h 6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83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15932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3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4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5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 baseline="-25000"/>
              </a:p>
            </p:txBody>
          </p:sp>
          <p:sp>
            <p:nvSpPr>
              <p:cNvPr id="15936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7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8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9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0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1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2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3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4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5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6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7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8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9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0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 baseline="-25000"/>
              </a:p>
            </p:txBody>
          </p:sp>
          <p:sp>
            <p:nvSpPr>
              <p:cNvPr id="15951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2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3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4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5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6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7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8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9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0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1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2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8"/>
                  <a:gd name="T14" fmla="*/ 20 w 20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5484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15923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0 h 87"/>
                  <a:gd name="T4" fmla="*/ 0 w 40"/>
                  <a:gd name="T5" fmla="*/ 0 h 87"/>
                  <a:gd name="T6" fmla="*/ 0 w 40"/>
                  <a:gd name="T7" fmla="*/ 0 h 87"/>
                  <a:gd name="T8" fmla="*/ 0 w 40"/>
                  <a:gd name="T9" fmla="*/ 0 h 87"/>
                  <a:gd name="T10" fmla="*/ 0 w 40"/>
                  <a:gd name="T11" fmla="*/ 0 h 87"/>
                  <a:gd name="T12" fmla="*/ 0 w 40"/>
                  <a:gd name="T13" fmla="*/ 0 h 87"/>
                  <a:gd name="T14" fmla="*/ 0 w 40"/>
                  <a:gd name="T15" fmla="*/ 0 h 87"/>
                  <a:gd name="T16" fmla="*/ 0 w 40"/>
                  <a:gd name="T17" fmla="*/ 0 h 87"/>
                  <a:gd name="T18" fmla="*/ 0 w 40"/>
                  <a:gd name="T19" fmla="*/ 0 h 87"/>
                  <a:gd name="T20" fmla="*/ 0 w 40"/>
                  <a:gd name="T21" fmla="*/ 0 h 87"/>
                  <a:gd name="T22" fmla="*/ 0 w 40"/>
                  <a:gd name="T23" fmla="*/ 0 h 87"/>
                  <a:gd name="T24" fmla="*/ 0 w 40"/>
                  <a:gd name="T25" fmla="*/ 0 h 87"/>
                  <a:gd name="T26" fmla="*/ 0 w 40"/>
                  <a:gd name="T27" fmla="*/ 0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0"/>
                  <a:gd name="T76" fmla="*/ 0 h 87"/>
                  <a:gd name="T77" fmla="*/ 40 w 40"/>
                  <a:gd name="T78" fmla="*/ 87 h 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4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0 w 61"/>
                  <a:gd name="T7" fmla="*/ 0 h 37"/>
                  <a:gd name="T8" fmla="*/ 0 w 61"/>
                  <a:gd name="T9" fmla="*/ 0 h 37"/>
                  <a:gd name="T10" fmla="*/ 0 w 61"/>
                  <a:gd name="T11" fmla="*/ 0 h 37"/>
                  <a:gd name="T12" fmla="*/ 0 w 61"/>
                  <a:gd name="T13" fmla="*/ 0 h 37"/>
                  <a:gd name="T14" fmla="*/ 0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1"/>
                  <a:gd name="T43" fmla="*/ 0 h 37"/>
                  <a:gd name="T44" fmla="*/ 61 w 61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5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30"/>
                  <a:gd name="T53" fmla="*/ 40 w 40"/>
                  <a:gd name="T54" fmla="*/ 30 h 3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6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0 w 74"/>
                  <a:gd name="T1" fmla="*/ 0 h 80"/>
                  <a:gd name="T2" fmla="*/ 0 w 74"/>
                  <a:gd name="T3" fmla="*/ 0 h 80"/>
                  <a:gd name="T4" fmla="*/ 0 w 74"/>
                  <a:gd name="T5" fmla="*/ 0 h 80"/>
                  <a:gd name="T6" fmla="*/ 0 w 74"/>
                  <a:gd name="T7" fmla="*/ 0 h 80"/>
                  <a:gd name="T8" fmla="*/ 0 w 74"/>
                  <a:gd name="T9" fmla="*/ 0 h 80"/>
                  <a:gd name="T10" fmla="*/ 0 w 74"/>
                  <a:gd name="T11" fmla="*/ 0 h 80"/>
                  <a:gd name="T12" fmla="*/ 0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0 h 80"/>
                  <a:gd name="T40" fmla="*/ 0 w 74"/>
                  <a:gd name="T41" fmla="*/ 0 h 80"/>
                  <a:gd name="T42" fmla="*/ 0 w 74"/>
                  <a:gd name="T43" fmla="*/ 0 h 80"/>
                  <a:gd name="T44" fmla="*/ 0 w 74"/>
                  <a:gd name="T45" fmla="*/ 0 h 80"/>
                  <a:gd name="T46" fmla="*/ 0 w 74"/>
                  <a:gd name="T47" fmla="*/ 0 h 80"/>
                  <a:gd name="T48" fmla="*/ 0 w 74"/>
                  <a:gd name="T49" fmla="*/ 0 h 80"/>
                  <a:gd name="T50" fmla="*/ 0 w 74"/>
                  <a:gd name="T51" fmla="*/ 0 h 80"/>
                  <a:gd name="T52" fmla="*/ 0 w 74"/>
                  <a:gd name="T53" fmla="*/ 0 h 80"/>
                  <a:gd name="T54" fmla="*/ 0 w 74"/>
                  <a:gd name="T55" fmla="*/ 0 h 80"/>
                  <a:gd name="T56" fmla="*/ 0 w 74"/>
                  <a:gd name="T57" fmla="*/ 0 h 80"/>
                  <a:gd name="T58" fmla="*/ 0 w 74"/>
                  <a:gd name="T59" fmla="*/ 0 h 80"/>
                  <a:gd name="T60" fmla="*/ 0 w 74"/>
                  <a:gd name="T61" fmla="*/ 0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74"/>
                  <a:gd name="T94" fmla="*/ 0 h 80"/>
                  <a:gd name="T95" fmla="*/ 74 w 74"/>
                  <a:gd name="T96" fmla="*/ 80 h 8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7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0 w 86"/>
                  <a:gd name="T1" fmla="*/ 0 h 80"/>
                  <a:gd name="T2" fmla="*/ 0 w 86"/>
                  <a:gd name="T3" fmla="*/ 0 h 80"/>
                  <a:gd name="T4" fmla="*/ 0 w 86"/>
                  <a:gd name="T5" fmla="*/ 0 h 80"/>
                  <a:gd name="T6" fmla="*/ 0 w 86"/>
                  <a:gd name="T7" fmla="*/ 0 h 80"/>
                  <a:gd name="T8" fmla="*/ 0 w 86"/>
                  <a:gd name="T9" fmla="*/ 0 h 80"/>
                  <a:gd name="T10" fmla="*/ 0 w 86"/>
                  <a:gd name="T11" fmla="*/ 0 h 80"/>
                  <a:gd name="T12" fmla="*/ 0 w 86"/>
                  <a:gd name="T13" fmla="*/ 0 h 80"/>
                  <a:gd name="T14" fmla="*/ 0 w 86"/>
                  <a:gd name="T15" fmla="*/ 0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0 h 80"/>
                  <a:gd name="T34" fmla="*/ 0 w 86"/>
                  <a:gd name="T35" fmla="*/ 0 h 80"/>
                  <a:gd name="T36" fmla="*/ 0 w 86"/>
                  <a:gd name="T37" fmla="*/ 0 h 80"/>
                  <a:gd name="T38" fmla="*/ 0 w 86"/>
                  <a:gd name="T39" fmla="*/ 0 h 80"/>
                  <a:gd name="T40" fmla="*/ 0 w 86"/>
                  <a:gd name="T41" fmla="*/ 0 h 80"/>
                  <a:gd name="T42" fmla="*/ 0 w 86"/>
                  <a:gd name="T43" fmla="*/ 0 h 80"/>
                  <a:gd name="T44" fmla="*/ 0 w 86"/>
                  <a:gd name="T45" fmla="*/ 0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6"/>
                  <a:gd name="T70" fmla="*/ 0 h 80"/>
                  <a:gd name="T71" fmla="*/ 86 w 86"/>
                  <a:gd name="T72" fmla="*/ 80 h 8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8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0 w 74"/>
                  <a:gd name="T19" fmla="*/ 0 h 31"/>
                  <a:gd name="T20" fmla="*/ 0 w 74"/>
                  <a:gd name="T21" fmla="*/ 0 h 31"/>
                  <a:gd name="T22" fmla="*/ 0 w 74"/>
                  <a:gd name="T23" fmla="*/ 0 h 31"/>
                  <a:gd name="T24" fmla="*/ 0 w 74"/>
                  <a:gd name="T25" fmla="*/ 0 h 31"/>
                  <a:gd name="T26" fmla="*/ 0 w 74"/>
                  <a:gd name="T27" fmla="*/ 0 h 31"/>
                  <a:gd name="T28" fmla="*/ 0 w 74"/>
                  <a:gd name="T29" fmla="*/ 0 h 31"/>
                  <a:gd name="T30" fmla="*/ 0 w 74"/>
                  <a:gd name="T31" fmla="*/ 0 h 31"/>
                  <a:gd name="T32" fmla="*/ 0 w 74"/>
                  <a:gd name="T33" fmla="*/ 0 h 31"/>
                  <a:gd name="T34" fmla="*/ 0 w 74"/>
                  <a:gd name="T35" fmla="*/ 0 h 31"/>
                  <a:gd name="T36" fmla="*/ 0 w 74"/>
                  <a:gd name="T37" fmla="*/ 0 h 31"/>
                  <a:gd name="T38" fmla="*/ 0 w 74"/>
                  <a:gd name="T39" fmla="*/ 0 h 31"/>
                  <a:gd name="T40" fmla="*/ 0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4"/>
                  <a:gd name="T88" fmla="*/ 0 h 31"/>
                  <a:gd name="T89" fmla="*/ 74 w 74"/>
                  <a:gd name="T90" fmla="*/ 31 h 3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9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"/>
                  <a:gd name="T14" fmla="*/ 20 w 20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0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0 w 100"/>
                  <a:gd name="T5" fmla="*/ 0 h 65"/>
                  <a:gd name="T6" fmla="*/ 0 w 100"/>
                  <a:gd name="T7" fmla="*/ 0 h 65"/>
                  <a:gd name="T8" fmla="*/ 0 w 100"/>
                  <a:gd name="T9" fmla="*/ 0 h 65"/>
                  <a:gd name="T10" fmla="*/ 0 w 100"/>
                  <a:gd name="T11" fmla="*/ 0 h 65"/>
                  <a:gd name="T12" fmla="*/ 0 w 100"/>
                  <a:gd name="T13" fmla="*/ 0 h 65"/>
                  <a:gd name="T14" fmla="*/ 0 w 100"/>
                  <a:gd name="T15" fmla="*/ 0 h 65"/>
                  <a:gd name="T16" fmla="*/ 0 w 100"/>
                  <a:gd name="T17" fmla="*/ 0 h 65"/>
                  <a:gd name="T18" fmla="*/ 0 w 100"/>
                  <a:gd name="T19" fmla="*/ 0 h 65"/>
                  <a:gd name="T20" fmla="*/ 0 w 100"/>
                  <a:gd name="T21" fmla="*/ 0 h 65"/>
                  <a:gd name="T22" fmla="*/ 0 w 100"/>
                  <a:gd name="T23" fmla="*/ 0 h 65"/>
                  <a:gd name="T24" fmla="*/ 0 w 100"/>
                  <a:gd name="T25" fmla="*/ 0 h 65"/>
                  <a:gd name="T26" fmla="*/ 0 w 100"/>
                  <a:gd name="T27" fmla="*/ 0 h 65"/>
                  <a:gd name="T28" fmla="*/ 0 w 100"/>
                  <a:gd name="T29" fmla="*/ 0 h 65"/>
                  <a:gd name="T30" fmla="*/ 0 w 100"/>
                  <a:gd name="T31" fmla="*/ 0 h 65"/>
                  <a:gd name="T32" fmla="*/ 0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00"/>
                  <a:gd name="T73" fmla="*/ 0 h 65"/>
                  <a:gd name="T74" fmla="*/ 100 w 100"/>
                  <a:gd name="T75" fmla="*/ 65 h 6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1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0 w 79"/>
                  <a:gd name="T1" fmla="*/ 0 h 104"/>
                  <a:gd name="T2" fmla="*/ 0 w 79"/>
                  <a:gd name="T3" fmla="*/ 0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0 h 104"/>
                  <a:gd name="T18" fmla="*/ 0 w 79"/>
                  <a:gd name="T19" fmla="*/ 0 h 104"/>
                  <a:gd name="T20" fmla="*/ 0 w 79"/>
                  <a:gd name="T21" fmla="*/ 0 h 104"/>
                  <a:gd name="T22" fmla="*/ 0 w 79"/>
                  <a:gd name="T23" fmla="*/ 0 h 104"/>
                  <a:gd name="T24" fmla="*/ 0 w 79"/>
                  <a:gd name="T25" fmla="*/ 0 h 104"/>
                  <a:gd name="T26" fmla="*/ 0 w 79"/>
                  <a:gd name="T27" fmla="*/ 0 h 104"/>
                  <a:gd name="T28" fmla="*/ 0 w 79"/>
                  <a:gd name="T29" fmla="*/ 0 h 104"/>
                  <a:gd name="T30" fmla="*/ 0 w 79"/>
                  <a:gd name="T31" fmla="*/ 0 h 104"/>
                  <a:gd name="T32" fmla="*/ 0 w 79"/>
                  <a:gd name="T33" fmla="*/ 0 h 104"/>
                  <a:gd name="T34" fmla="*/ 0 w 79"/>
                  <a:gd name="T35" fmla="*/ 0 h 104"/>
                  <a:gd name="T36" fmla="*/ 0 w 79"/>
                  <a:gd name="T37" fmla="*/ 0 h 104"/>
                  <a:gd name="T38" fmla="*/ 0 w 79"/>
                  <a:gd name="T39" fmla="*/ 0 h 104"/>
                  <a:gd name="T40" fmla="*/ 0 w 79"/>
                  <a:gd name="T41" fmla="*/ 0 h 104"/>
                  <a:gd name="T42" fmla="*/ 0 w 79"/>
                  <a:gd name="T43" fmla="*/ 0 h 104"/>
                  <a:gd name="T44" fmla="*/ 0 w 79"/>
                  <a:gd name="T45" fmla="*/ 0 h 104"/>
                  <a:gd name="T46" fmla="*/ 0 w 79"/>
                  <a:gd name="T47" fmla="*/ 0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9"/>
                  <a:gd name="T73" fmla="*/ 0 h 104"/>
                  <a:gd name="T74" fmla="*/ 79 w 79"/>
                  <a:gd name="T75" fmla="*/ 104 h 10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85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6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35"/>
                <a:gd name="T44" fmla="*/ 39 w 39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7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88"/>
                <a:gd name="T178" fmla="*/ 0 h 630"/>
                <a:gd name="T179" fmla="*/ 1688 w 1688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8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2147483647 h 795"/>
                <a:gd name="T112" fmla="*/ 2147483647 w 758"/>
                <a:gd name="T113" fmla="*/ 2147483647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8"/>
                <a:gd name="T181" fmla="*/ 0 h 795"/>
                <a:gd name="T182" fmla="*/ 758 w 758"/>
                <a:gd name="T183" fmla="*/ 795 h 7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9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2147483647 h 414"/>
                <a:gd name="T28" fmla="*/ 2147483647 w 273"/>
                <a:gd name="T29" fmla="*/ 2147483647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2147483647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3"/>
                <a:gd name="T166" fmla="*/ 0 h 414"/>
                <a:gd name="T167" fmla="*/ 273 w 273"/>
                <a:gd name="T168" fmla="*/ 414 h 4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90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15919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0 h 22"/>
                  <a:gd name="T4" fmla="*/ 0 w 54"/>
                  <a:gd name="T5" fmla="*/ 0 h 22"/>
                  <a:gd name="T6" fmla="*/ 0 w 54"/>
                  <a:gd name="T7" fmla="*/ 0 h 22"/>
                  <a:gd name="T8" fmla="*/ 0 w 54"/>
                  <a:gd name="T9" fmla="*/ 0 h 22"/>
                  <a:gd name="T10" fmla="*/ 0 w 54"/>
                  <a:gd name="T11" fmla="*/ 0 h 22"/>
                  <a:gd name="T12" fmla="*/ 0 w 54"/>
                  <a:gd name="T13" fmla="*/ 0 h 22"/>
                  <a:gd name="T14" fmla="*/ 0 w 54"/>
                  <a:gd name="T15" fmla="*/ 0 h 22"/>
                  <a:gd name="T16" fmla="*/ 0 w 54"/>
                  <a:gd name="T17" fmla="*/ 0 h 22"/>
                  <a:gd name="T18" fmla="*/ 0 w 54"/>
                  <a:gd name="T19" fmla="*/ 0 h 22"/>
                  <a:gd name="T20" fmla="*/ 0 w 54"/>
                  <a:gd name="T21" fmla="*/ 0 h 22"/>
                  <a:gd name="T22" fmla="*/ 0 w 54"/>
                  <a:gd name="T23" fmla="*/ 0 h 22"/>
                  <a:gd name="T24" fmla="*/ 0 w 54"/>
                  <a:gd name="T25" fmla="*/ 0 h 22"/>
                  <a:gd name="T26" fmla="*/ 0 w 54"/>
                  <a:gd name="T27" fmla="*/ 0 h 22"/>
                  <a:gd name="T28" fmla="*/ 0 w 54"/>
                  <a:gd name="T29" fmla="*/ 0 h 22"/>
                  <a:gd name="T30" fmla="*/ 0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4"/>
                  <a:gd name="T55" fmla="*/ 0 h 22"/>
                  <a:gd name="T56" fmla="*/ 54 w 54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0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0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0 h 24"/>
                  <a:gd name="T14" fmla="*/ 0 w 6"/>
                  <a:gd name="T15" fmla="*/ 0 h 24"/>
                  <a:gd name="T16" fmla="*/ 0 w 6"/>
                  <a:gd name="T17" fmla="*/ 0 h 24"/>
                  <a:gd name="T18" fmla="*/ 0 w 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24"/>
                  <a:gd name="T32" fmla="*/ 6 w 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1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7"/>
                  <a:gd name="T13" fmla="*/ 0 h 12"/>
                  <a:gd name="T14" fmla="*/ 27 w 27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2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0 h 672"/>
                  <a:gd name="T2" fmla="*/ 0 w 743"/>
                  <a:gd name="T3" fmla="*/ 0 h 672"/>
                  <a:gd name="T4" fmla="*/ 0 w 743"/>
                  <a:gd name="T5" fmla="*/ 0 h 672"/>
                  <a:gd name="T6" fmla="*/ 0 w 743"/>
                  <a:gd name="T7" fmla="*/ 0 h 672"/>
                  <a:gd name="T8" fmla="*/ 0 w 743"/>
                  <a:gd name="T9" fmla="*/ 0 h 672"/>
                  <a:gd name="T10" fmla="*/ 0 w 743"/>
                  <a:gd name="T11" fmla="*/ 0 h 672"/>
                  <a:gd name="T12" fmla="*/ 0 w 743"/>
                  <a:gd name="T13" fmla="*/ 0 h 672"/>
                  <a:gd name="T14" fmla="*/ 0 w 743"/>
                  <a:gd name="T15" fmla="*/ 0 h 672"/>
                  <a:gd name="T16" fmla="*/ 0 w 743"/>
                  <a:gd name="T17" fmla="*/ 0 h 672"/>
                  <a:gd name="T18" fmla="*/ 0 w 743"/>
                  <a:gd name="T19" fmla="*/ 0 h 672"/>
                  <a:gd name="T20" fmla="*/ 0 w 743"/>
                  <a:gd name="T21" fmla="*/ 0 h 672"/>
                  <a:gd name="T22" fmla="*/ 0 w 743"/>
                  <a:gd name="T23" fmla="*/ 0 h 672"/>
                  <a:gd name="T24" fmla="*/ 0 w 743"/>
                  <a:gd name="T25" fmla="*/ 0 h 672"/>
                  <a:gd name="T26" fmla="*/ 0 w 743"/>
                  <a:gd name="T27" fmla="*/ 0 h 672"/>
                  <a:gd name="T28" fmla="*/ 0 w 743"/>
                  <a:gd name="T29" fmla="*/ 0 h 672"/>
                  <a:gd name="T30" fmla="*/ 0 w 743"/>
                  <a:gd name="T31" fmla="*/ 0 h 672"/>
                  <a:gd name="T32" fmla="*/ 0 w 743"/>
                  <a:gd name="T33" fmla="*/ 0 h 672"/>
                  <a:gd name="T34" fmla="*/ 0 w 743"/>
                  <a:gd name="T35" fmla="*/ 0 h 672"/>
                  <a:gd name="T36" fmla="*/ 0 w 743"/>
                  <a:gd name="T37" fmla="*/ 0 h 672"/>
                  <a:gd name="T38" fmla="*/ 0 w 743"/>
                  <a:gd name="T39" fmla="*/ 0 h 672"/>
                  <a:gd name="T40" fmla="*/ 0 w 743"/>
                  <a:gd name="T41" fmla="*/ 0 h 672"/>
                  <a:gd name="T42" fmla="*/ 0 w 743"/>
                  <a:gd name="T43" fmla="*/ 0 h 672"/>
                  <a:gd name="T44" fmla="*/ 0 w 743"/>
                  <a:gd name="T45" fmla="*/ 0 h 672"/>
                  <a:gd name="T46" fmla="*/ 0 w 743"/>
                  <a:gd name="T47" fmla="*/ 0 h 672"/>
                  <a:gd name="T48" fmla="*/ 0 w 743"/>
                  <a:gd name="T49" fmla="*/ 0 h 672"/>
                  <a:gd name="T50" fmla="*/ 0 w 743"/>
                  <a:gd name="T51" fmla="*/ 0 h 672"/>
                  <a:gd name="T52" fmla="*/ 0 w 743"/>
                  <a:gd name="T53" fmla="*/ 0 h 672"/>
                  <a:gd name="T54" fmla="*/ 0 w 743"/>
                  <a:gd name="T55" fmla="*/ 0 h 672"/>
                  <a:gd name="T56" fmla="*/ 0 w 743"/>
                  <a:gd name="T57" fmla="*/ 0 h 672"/>
                  <a:gd name="T58" fmla="*/ 0 w 743"/>
                  <a:gd name="T59" fmla="*/ 0 h 672"/>
                  <a:gd name="T60" fmla="*/ 0 w 743"/>
                  <a:gd name="T61" fmla="*/ 0 h 672"/>
                  <a:gd name="T62" fmla="*/ 0 w 743"/>
                  <a:gd name="T63" fmla="*/ 0 h 672"/>
                  <a:gd name="T64" fmla="*/ 0 w 743"/>
                  <a:gd name="T65" fmla="*/ 0 h 672"/>
                  <a:gd name="T66" fmla="*/ 0 w 743"/>
                  <a:gd name="T67" fmla="*/ 0 h 672"/>
                  <a:gd name="T68" fmla="*/ 0 w 743"/>
                  <a:gd name="T69" fmla="*/ 0 h 672"/>
                  <a:gd name="T70" fmla="*/ 0 w 743"/>
                  <a:gd name="T71" fmla="*/ 0 h 672"/>
                  <a:gd name="T72" fmla="*/ 0 w 743"/>
                  <a:gd name="T73" fmla="*/ 0 h 672"/>
                  <a:gd name="T74" fmla="*/ 0 w 743"/>
                  <a:gd name="T75" fmla="*/ 0 h 672"/>
                  <a:gd name="T76" fmla="*/ 0 w 743"/>
                  <a:gd name="T77" fmla="*/ 0 h 672"/>
                  <a:gd name="T78" fmla="*/ 0 w 743"/>
                  <a:gd name="T79" fmla="*/ 0 h 672"/>
                  <a:gd name="T80" fmla="*/ 0 w 743"/>
                  <a:gd name="T81" fmla="*/ 0 h 672"/>
                  <a:gd name="T82" fmla="*/ 0 w 743"/>
                  <a:gd name="T83" fmla="*/ 0 h 672"/>
                  <a:gd name="T84" fmla="*/ 0 w 743"/>
                  <a:gd name="T85" fmla="*/ 0 h 672"/>
                  <a:gd name="T86" fmla="*/ 0 w 743"/>
                  <a:gd name="T87" fmla="*/ 0 h 672"/>
                  <a:gd name="T88" fmla="*/ 0 w 743"/>
                  <a:gd name="T89" fmla="*/ 0 h 672"/>
                  <a:gd name="T90" fmla="*/ 0 w 743"/>
                  <a:gd name="T91" fmla="*/ 0 h 672"/>
                  <a:gd name="T92" fmla="*/ 0 w 743"/>
                  <a:gd name="T93" fmla="*/ 0 h 672"/>
                  <a:gd name="T94" fmla="*/ 0 w 743"/>
                  <a:gd name="T95" fmla="*/ 0 h 672"/>
                  <a:gd name="T96" fmla="*/ 0 w 743"/>
                  <a:gd name="T97" fmla="*/ 0 h 672"/>
                  <a:gd name="T98" fmla="*/ 0 w 743"/>
                  <a:gd name="T99" fmla="*/ 0 h 672"/>
                  <a:gd name="T100" fmla="*/ 0 w 743"/>
                  <a:gd name="T101" fmla="*/ 0 h 672"/>
                  <a:gd name="T102" fmla="*/ 0 w 743"/>
                  <a:gd name="T103" fmla="*/ 0 h 672"/>
                  <a:gd name="T104" fmla="*/ 0 w 743"/>
                  <a:gd name="T105" fmla="*/ 0 h 672"/>
                  <a:gd name="T106" fmla="*/ 0 w 743"/>
                  <a:gd name="T107" fmla="*/ 0 h 672"/>
                  <a:gd name="T108" fmla="*/ 0 w 743"/>
                  <a:gd name="T109" fmla="*/ 0 h 672"/>
                  <a:gd name="T110" fmla="*/ 0 w 743"/>
                  <a:gd name="T111" fmla="*/ 0 h 672"/>
                  <a:gd name="T112" fmla="*/ 0 w 743"/>
                  <a:gd name="T113" fmla="*/ 0 h 672"/>
                  <a:gd name="T114" fmla="*/ 0 w 743"/>
                  <a:gd name="T115" fmla="*/ 0 h 672"/>
                  <a:gd name="T116" fmla="*/ 0 w 743"/>
                  <a:gd name="T117" fmla="*/ 0 h 672"/>
                  <a:gd name="T118" fmla="*/ 0 w 743"/>
                  <a:gd name="T119" fmla="*/ 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3"/>
                  <a:gd name="T181" fmla="*/ 0 h 672"/>
                  <a:gd name="T182" fmla="*/ 743 w 743"/>
                  <a:gd name="T183" fmla="*/ 672 h 67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91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147483647 h 23"/>
                <a:gd name="T2" fmla="*/ 2147483647 w 79"/>
                <a:gd name="T3" fmla="*/ 2147483647 h 23"/>
                <a:gd name="T4" fmla="*/ 2147483647 w 79"/>
                <a:gd name="T5" fmla="*/ 2147483647 h 23"/>
                <a:gd name="T6" fmla="*/ 2147483647 w 79"/>
                <a:gd name="T7" fmla="*/ 2147483647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2147483647 h 23"/>
                <a:gd name="T14" fmla="*/ 2147483647 w 79"/>
                <a:gd name="T15" fmla="*/ 2147483647 h 23"/>
                <a:gd name="T16" fmla="*/ 2147483647 w 79"/>
                <a:gd name="T17" fmla="*/ 2147483647 h 23"/>
                <a:gd name="T18" fmla="*/ 2147483647 w 79"/>
                <a:gd name="T19" fmla="*/ 2147483647 h 23"/>
                <a:gd name="T20" fmla="*/ 2147483647 w 79"/>
                <a:gd name="T21" fmla="*/ 2147483647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2147483647 w 79"/>
                <a:gd name="T43" fmla="*/ 2147483647 h 23"/>
                <a:gd name="T44" fmla="*/ 2147483647 w 79"/>
                <a:gd name="T45" fmla="*/ 2147483647 h 23"/>
                <a:gd name="T46" fmla="*/ 2147483647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23"/>
                <a:gd name="T77" fmla="*/ 79 w 79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2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  <a:gd name="T9" fmla="*/ 0 w 1588"/>
                <a:gd name="T10" fmla="*/ 0 h 6"/>
                <a:gd name="T11" fmla="*/ 1588 w 1588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3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94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147483647 w 5"/>
                <a:gd name="T3" fmla="*/ 2147483647 h 30"/>
                <a:gd name="T4" fmla="*/ 2147483647 w 5"/>
                <a:gd name="T5" fmla="*/ 2147483647 h 30"/>
                <a:gd name="T6" fmla="*/ 2147483647 w 5"/>
                <a:gd name="T7" fmla="*/ 2147483647 h 30"/>
                <a:gd name="T8" fmla="*/ 2147483647 w 5"/>
                <a:gd name="T9" fmla="*/ 2147483647 h 30"/>
                <a:gd name="T10" fmla="*/ 2147483647 w 5"/>
                <a:gd name="T11" fmla="*/ 2147483647 h 30"/>
                <a:gd name="T12" fmla="*/ 2147483647 w 5"/>
                <a:gd name="T13" fmla="*/ 2147483647 h 30"/>
                <a:gd name="T14" fmla="*/ 2147483647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0"/>
                <a:gd name="T29" fmla="*/ 5 w 5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5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2147483647 h 55"/>
                <a:gd name="T2" fmla="*/ 2147483647 w 53"/>
                <a:gd name="T3" fmla="*/ 2147483647 h 55"/>
                <a:gd name="T4" fmla="*/ 2147483647 w 53"/>
                <a:gd name="T5" fmla="*/ 2147483647 h 55"/>
                <a:gd name="T6" fmla="*/ 2147483647 w 53"/>
                <a:gd name="T7" fmla="*/ 2147483647 h 55"/>
                <a:gd name="T8" fmla="*/ 2147483647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147483647 w 53"/>
                <a:gd name="T23" fmla="*/ 2147483647 h 55"/>
                <a:gd name="T24" fmla="*/ 2147483647 w 53"/>
                <a:gd name="T25" fmla="*/ 2147483647 h 55"/>
                <a:gd name="T26" fmla="*/ 2147483647 w 53"/>
                <a:gd name="T27" fmla="*/ 0 h 55"/>
                <a:gd name="T28" fmla="*/ 2147483647 w 53"/>
                <a:gd name="T29" fmla="*/ 2147483647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55"/>
                <a:gd name="T50" fmla="*/ 53 w 53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6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75"/>
                <a:gd name="T83" fmla="*/ 65 w 65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7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2147483647 h 62"/>
                <a:gd name="T2" fmla="*/ 2147483647 w 40"/>
                <a:gd name="T3" fmla="*/ 2147483647 h 62"/>
                <a:gd name="T4" fmla="*/ 2147483647 w 40"/>
                <a:gd name="T5" fmla="*/ 2147483647 h 62"/>
                <a:gd name="T6" fmla="*/ 2147483647 w 40"/>
                <a:gd name="T7" fmla="*/ 2147483647 h 62"/>
                <a:gd name="T8" fmla="*/ 2147483647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2147483647 h 62"/>
                <a:gd name="T14" fmla="*/ 2147483647 w 40"/>
                <a:gd name="T15" fmla="*/ 2147483647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62"/>
                <a:gd name="T29" fmla="*/ 40 w 40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8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147483647 w 159"/>
                <a:gd name="T59" fmla="*/ 2147483647 h 259"/>
                <a:gd name="T60" fmla="*/ 2147483647 w 159"/>
                <a:gd name="T61" fmla="*/ 2147483647 h 259"/>
                <a:gd name="T62" fmla="*/ 2147483647 w 159"/>
                <a:gd name="T63" fmla="*/ 2147483647 h 259"/>
                <a:gd name="T64" fmla="*/ 2147483647 w 159"/>
                <a:gd name="T65" fmla="*/ 2147483647 h 259"/>
                <a:gd name="T66" fmla="*/ 2147483647 w 159"/>
                <a:gd name="T67" fmla="*/ 2147483647 h 259"/>
                <a:gd name="T68" fmla="*/ 214748364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9"/>
                <a:gd name="T112" fmla="*/ 0 h 259"/>
                <a:gd name="T113" fmla="*/ 159 w 159"/>
                <a:gd name="T114" fmla="*/ 259 h 25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9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500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147483647 h 25"/>
                <a:gd name="T2" fmla="*/ 2147483647 w 13"/>
                <a:gd name="T3" fmla="*/ 2147483647 h 25"/>
                <a:gd name="T4" fmla="*/ 2147483647 w 13"/>
                <a:gd name="T5" fmla="*/ 2147483647 h 25"/>
                <a:gd name="T6" fmla="*/ 2147483647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25"/>
                <a:gd name="T17" fmla="*/ 13 w 13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1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502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2147483647 w 100"/>
                <a:gd name="T17" fmla="*/ 2147483647 h 123"/>
                <a:gd name="T18" fmla="*/ 2147483647 w 100"/>
                <a:gd name="T19" fmla="*/ 2147483647 h 123"/>
                <a:gd name="T20" fmla="*/ 2147483647 w 100"/>
                <a:gd name="T21" fmla="*/ 2147483647 h 123"/>
                <a:gd name="T22" fmla="*/ 2147483647 w 100"/>
                <a:gd name="T23" fmla="*/ 2147483647 h 123"/>
                <a:gd name="T24" fmla="*/ 0 w 100"/>
                <a:gd name="T25" fmla="*/ 2147483647 h 123"/>
                <a:gd name="T26" fmla="*/ 2147483647 w 100"/>
                <a:gd name="T27" fmla="*/ 2147483647 h 123"/>
                <a:gd name="T28" fmla="*/ 2147483647 w 100"/>
                <a:gd name="T29" fmla="*/ 2147483647 h 123"/>
                <a:gd name="T30" fmla="*/ 2147483647 w 100"/>
                <a:gd name="T31" fmla="*/ 2147483647 h 123"/>
                <a:gd name="T32" fmla="*/ 214748364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0"/>
                <a:gd name="T52" fmla="*/ 0 h 123"/>
                <a:gd name="T53" fmla="*/ 100 w 100"/>
                <a:gd name="T54" fmla="*/ 123 h 1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3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99"/>
                <a:gd name="T23" fmla="*/ 5 w 5"/>
                <a:gd name="T24" fmla="*/ 99 h 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4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68"/>
                <a:gd name="T17" fmla="*/ 14 w 14"/>
                <a:gd name="T18" fmla="*/ 68 h 6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5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43"/>
                <a:gd name="T17" fmla="*/ 1587 w 1587"/>
                <a:gd name="T18" fmla="*/ 43 h 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6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507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214748364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31"/>
                <a:gd name="T17" fmla="*/ 1587 w 158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8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2147483647 w 225"/>
                <a:gd name="T1" fmla="*/ 2147483647 h 167"/>
                <a:gd name="T2" fmla="*/ 2147483647 w 225"/>
                <a:gd name="T3" fmla="*/ 2147483647 h 167"/>
                <a:gd name="T4" fmla="*/ 0 w 225"/>
                <a:gd name="T5" fmla="*/ 2147483647 h 167"/>
                <a:gd name="T6" fmla="*/ 2147483647 w 225"/>
                <a:gd name="T7" fmla="*/ 2147483647 h 167"/>
                <a:gd name="T8" fmla="*/ 2147483647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2147483647 h 167"/>
                <a:gd name="T16" fmla="*/ 2147483647 w 225"/>
                <a:gd name="T17" fmla="*/ 2147483647 h 167"/>
                <a:gd name="T18" fmla="*/ 2147483647 w 225"/>
                <a:gd name="T19" fmla="*/ 2147483647 h 167"/>
                <a:gd name="T20" fmla="*/ 2147483647 w 225"/>
                <a:gd name="T21" fmla="*/ 2147483647 h 167"/>
                <a:gd name="T22" fmla="*/ 2147483647 w 225"/>
                <a:gd name="T23" fmla="*/ 2147483647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2147483647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5"/>
                <a:gd name="T100" fmla="*/ 0 h 167"/>
                <a:gd name="T101" fmla="*/ 225 w 225"/>
                <a:gd name="T102" fmla="*/ 167 h 1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9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2147483647 h 31"/>
                <a:gd name="T2" fmla="*/ 2147483647 w 7"/>
                <a:gd name="T3" fmla="*/ 2147483647 h 31"/>
                <a:gd name="T4" fmla="*/ 2147483647 w 7"/>
                <a:gd name="T5" fmla="*/ 2147483647 h 31"/>
                <a:gd name="T6" fmla="*/ 2147483647 w 7"/>
                <a:gd name="T7" fmla="*/ 2147483647 h 31"/>
                <a:gd name="T8" fmla="*/ 2147483647 w 7"/>
                <a:gd name="T9" fmla="*/ 0 h 31"/>
                <a:gd name="T10" fmla="*/ 2147483647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31"/>
                <a:gd name="T29" fmla="*/ 7 w 7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0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0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"/>
                <a:gd name="T49" fmla="*/ 0 h 31"/>
                <a:gd name="T50" fmla="*/ 33 w 33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1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2147483647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9"/>
                <a:gd name="T26" fmla="*/ 13 w 13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2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2147483647 h 42"/>
                <a:gd name="T22" fmla="*/ 2147483647 w 87"/>
                <a:gd name="T23" fmla="*/ 2147483647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2147483647 h 42"/>
                <a:gd name="T34" fmla="*/ 2147483647 w 87"/>
                <a:gd name="T35" fmla="*/ 2147483647 h 42"/>
                <a:gd name="T36" fmla="*/ 2147483647 w 87"/>
                <a:gd name="T37" fmla="*/ 2147483647 h 42"/>
                <a:gd name="T38" fmla="*/ 2147483647 w 87"/>
                <a:gd name="T39" fmla="*/ 2147483647 h 42"/>
                <a:gd name="T40" fmla="*/ 0 w 87"/>
                <a:gd name="T41" fmla="*/ 2147483647 h 42"/>
                <a:gd name="T42" fmla="*/ 2147483647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7"/>
                <a:gd name="T76" fmla="*/ 0 h 42"/>
                <a:gd name="T77" fmla="*/ 87 w 87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3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2147483647 w 7"/>
                <a:gd name="T3" fmla="*/ 0 h 31"/>
                <a:gd name="T4" fmla="*/ 2147483647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1"/>
                <a:gd name="T17" fmla="*/ 7 w 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40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044" y="3976608"/>
              <a:ext cx="1020243" cy="908623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15515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2147483647 w 1535"/>
                <a:gd name="T71" fmla="*/ 2147483647 h 1109"/>
                <a:gd name="T72" fmla="*/ 2147483647 w 1535"/>
                <a:gd name="T73" fmla="*/ 2147483647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35"/>
                <a:gd name="T184" fmla="*/ 0 h 1109"/>
                <a:gd name="T185" fmla="*/ 1535 w 1535"/>
                <a:gd name="T186" fmla="*/ 1109 h 110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6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2147483647 h 505"/>
                <a:gd name="T80" fmla="*/ 2147483647 w 486"/>
                <a:gd name="T81" fmla="*/ 2147483647 h 505"/>
                <a:gd name="T82" fmla="*/ 2147483647 w 486"/>
                <a:gd name="T83" fmla="*/ 2147483647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6"/>
                <a:gd name="T139" fmla="*/ 0 h 505"/>
                <a:gd name="T140" fmla="*/ 486 w 486"/>
                <a:gd name="T141" fmla="*/ 505 h 5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7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214748364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47483647 h 208"/>
                <a:gd name="T46" fmla="*/ 2147483647 w 166"/>
                <a:gd name="T47" fmla="*/ 2147483647 h 208"/>
                <a:gd name="T48" fmla="*/ 2147483647 w 166"/>
                <a:gd name="T49" fmla="*/ 2147483647 h 208"/>
                <a:gd name="T50" fmla="*/ 2147483647 w 166"/>
                <a:gd name="T51" fmla="*/ 2147483647 h 208"/>
                <a:gd name="T52" fmla="*/ 2147483647 w 166"/>
                <a:gd name="T53" fmla="*/ 2147483647 h 208"/>
                <a:gd name="T54" fmla="*/ 2147483647 w 166"/>
                <a:gd name="T55" fmla="*/ 0 h 208"/>
                <a:gd name="T56" fmla="*/ 2147483647 w 166"/>
                <a:gd name="T57" fmla="*/ 2147483647 h 208"/>
                <a:gd name="T58" fmla="*/ 2147483647 w 166"/>
                <a:gd name="T59" fmla="*/ 2147483647 h 208"/>
                <a:gd name="T60" fmla="*/ 2147483647 w 166"/>
                <a:gd name="T61" fmla="*/ 2147483647 h 208"/>
                <a:gd name="T62" fmla="*/ 2147483647 w 166"/>
                <a:gd name="T63" fmla="*/ 2147483647 h 208"/>
                <a:gd name="T64" fmla="*/ 2147483647 w 166"/>
                <a:gd name="T65" fmla="*/ 2147483647 h 208"/>
                <a:gd name="T66" fmla="*/ 2147483647 w 166"/>
                <a:gd name="T67" fmla="*/ 2147483647 h 208"/>
                <a:gd name="T68" fmla="*/ 214748364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147483647 w 166"/>
                <a:gd name="T75" fmla="*/ 2147483647 h 208"/>
                <a:gd name="T76" fmla="*/ 2147483647 w 166"/>
                <a:gd name="T77" fmla="*/ 2147483647 h 208"/>
                <a:gd name="T78" fmla="*/ 2147483647 w 166"/>
                <a:gd name="T79" fmla="*/ 2147483647 h 208"/>
                <a:gd name="T80" fmla="*/ 2147483647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2147483647 w 166"/>
                <a:gd name="T109" fmla="*/ 2147483647 h 208"/>
                <a:gd name="T110" fmla="*/ 214748364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6"/>
                <a:gd name="T169" fmla="*/ 0 h 208"/>
                <a:gd name="T170" fmla="*/ 166 w 166"/>
                <a:gd name="T171" fmla="*/ 208 h 2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8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4"/>
                <a:gd name="T166" fmla="*/ 0 h 104"/>
                <a:gd name="T167" fmla="*/ 164 w 164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9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0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2147483647 w 80"/>
                <a:gd name="T3" fmla="*/ 2147483647 h 18"/>
                <a:gd name="T4" fmla="*/ 2147483647 w 80"/>
                <a:gd name="T5" fmla="*/ 2147483647 h 18"/>
                <a:gd name="T6" fmla="*/ 2147483647 w 80"/>
                <a:gd name="T7" fmla="*/ 2147483647 h 18"/>
                <a:gd name="T8" fmla="*/ 2147483647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0"/>
                <a:gd name="T61" fmla="*/ 0 h 18"/>
                <a:gd name="T62" fmla="*/ 80 w 80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1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6"/>
                <a:gd name="T43" fmla="*/ 0 h 27"/>
                <a:gd name="T44" fmla="*/ 46 w 46"/>
                <a:gd name="T45" fmla="*/ 27 h 2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2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147483647 w 54"/>
                <a:gd name="T5" fmla="*/ 2147483647 h 39"/>
                <a:gd name="T6" fmla="*/ 2147483647 w 54"/>
                <a:gd name="T7" fmla="*/ 2147483647 h 39"/>
                <a:gd name="T8" fmla="*/ 2147483647 w 54"/>
                <a:gd name="T9" fmla="*/ 2147483647 h 39"/>
                <a:gd name="T10" fmla="*/ 2147483647 w 54"/>
                <a:gd name="T11" fmla="*/ 2147483647 h 39"/>
                <a:gd name="T12" fmla="*/ 0 w 54"/>
                <a:gd name="T13" fmla="*/ 2147483647 h 39"/>
                <a:gd name="T14" fmla="*/ 2147483647 w 54"/>
                <a:gd name="T15" fmla="*/ 2147483647 h 39"/>
                <a:gd name="T16" fmla="*/ 2147483647 w 54"/>
                <a:gd name="T17" fmla="*/ 2147483647 h 39"/>
                <a:gd name="T18" fmla="*/ 2147483647 w 54"/>
                <a:gd name="T19" fmla="*/ 2147483647 h 39"/>
                <a:gd name="T20" fmla="*/ 2147483647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4"/>
                <a:gd name="T94" fmla="*/ 0 h 39"/>
                <a:gd name="T95" fmla="*/ 54 w 54"/>
                <a:gd name="T96" fmla="*/ 39 h 3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3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2147483647 h 15"/>
                <a:gd name="T2" fmla="*/ 214748364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2147483647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15"/>
                <a:gd name="T59" fmla="*/ 60 w 60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4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2147483647 w 79"/>
                <a:gd name="T13" fmla="*/ 2147483647 h 32"/>
                <a:gd name="T14" fmla="*/ 2147483647 w 79"/>
                <a:gd name="T15" fmla="*/ 2147483647 h 32"/>
                <a:gd name="T16" fmla="*/ 0 w 79"/>
                <a:gd name="T17" fmla="*/ 2147483647 h 32"/>
                <a:gd name="T18" fmla="*/ 2147483647 w 79"/>
                <a:gd name="T19" fmla="*/ 2147483647 h 32"/>
                <a:gd name="T20" fmla="*/ 2147483647 w 79"/>
                <a:gd name="T21" fmla="*/ 2147483647 h 32"/>
                <a:gd name="T22" fmla="*/ 2147483647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32"/>
                <a:gd name="T77" fmla="*/ 79 w 79"/>
                <a:gd name="T78" fmla="*/ 32 h 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5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2147483647 w 66"/>
                <a:gd name="T9" fmla="*/ 2147483647 h 19"/>
                <a:gd name="T10" fmla="*/ 2147483647 w 66"/>
                <a:gd name="T11" fmla="*/ 2147483647 h 19"/>
                <a:gd name="T12" fmla="*/ 214748364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19"/>
                <a:gd name="T59" fmla="*/ 66 w 66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6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3"/>
                <a:gd name="T118" fmla="*/ 0 h 80"/>
                <a:gd name="T119" fmla="*/ 53 w 53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7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43"/>
                <a:gd name="T41" fmla="*/ 41 w 41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8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4"/>
                <a:gd name="T35" fmla="*/ 20 w 20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9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2147483647 h 43"/>
                <a:gd name="T2" fmla="*/ 2147483647 w 39"/>
                <a:gd name="T3" fmla="*/ 2147483647 h 43"/>
                <a:gd name="T4" fmla="*/ 2147483647 w 39"/>
                <a:gd name="T5" fmla="*/ 2147483647 h 43"/>
                <a:gd name="T6" fmla="*/ 2147483647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2147483647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43"/>
                <a:gd name="T50" fmla="*/ 39 w 39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0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147483647 w 55"/>
                <a:gd name="T1" fmla="*/ 2147483647 h 62"/>
                <a:gd name="T2" fmla="*/ 2147483647 w 55"/>
                <a:gd name="T3" fmla="*/ 0 h 62"/>
                <a:gd name="T4" fmla="*/ 2147483647 w 55"/>
                <a:gd name="T5" fmla="*/ 2147483647 h 62"/>
                <a:gd name="T6" fmla="*/ 214748364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147483647 w 55"/>
                <a:gd name="T13" fmla="*/ 2147483647 h 62"/>
                <a:gd name="T14" fmla="*/ 2147483647 w 55"/>
                <a:gd name="T15" fmla="*/ 2147483647 h 62"/>
                <a:gd name="T16" fmla="*/ 2147483647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5"/>
                <a:gd name="T79" fmla="*/ 0 h 62"/>
                <a:gd name="T80" fmla="*/ 55 w 55"/>
                <a:gd name="T81" fmla="*/ 62 h 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1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2147483647 w 35"/>
                <a:gd name="T1" fmla="*/ 2147483647 h 43"/>
                <a:gd name="T2" fmla="*/ 2147483647 w 35"/>
                <a:gd name="T3" fmla="*/ 0 h 43"/>
                <a:gd name="T4" fmla="*/ 2147483647 w 35"/>
                <a:gd name="T5" fmla="*/ 2147483647 h 43"/>
                <a:gd name="T6" fmla="*/ 0 w 35"/>
                <a:gd name="T7" fmla="*/ 2147483647 h 43"/>
                <a:gd name="T8" fmla="*/ 2147483647 w 35"/>
                <a:gd name="T9" fmla="*/ 2147483647 h 43"/>
                <a:gd name="T10" fmla="*/ 2147483647 w 35"/>
                <a:gd name="T11" fmla="*/ 2147483647 h 43"/>
                <a:gd name="T12" fmla="*/ 2147483647 w 35"/>
                <a:gd name="T13" fmla="*/ 2147483647 h 43"/>
                <a:gd name="T14" fmla="*/ 2147483647 w 35"/>
                <a:gd name="T15" fmla="*/ 2147483647 h 43"/>
                <a:gd name="T16" fmla="*/ 2147483647 w 35"/>
                <a:gd name="T17" fmla="*/ 2147483647 h 43"/>
                <a:gd name="T18" fmla="*/ 2147483647 w 35"/>
                <a:gd name="T19" fmla="*/ 2147483647 h 43"/>
                <a:gd name="T20" fmla="*/ 2147483647 w 35"/>
                <a:gd name="T21" fmla="*/ 2147483647 h 43"/>
                <a:gd name="T22" fmla="*/ 2147483647 w 35"/>
                <a:gd name="T23" fmla="*/ 2147483647 h 43"/>
                <a:gd name="T24" fmla="*/ 2147483647 w 35"/>
                <a:gd name="T25" fmla="*/ 2147483647 h 43"/>
                <a:gd name="T26" fmla="*/ 2147483647 w 35"/>
                <a:gd name="T27" fmla="*/ 2147483647 h 43"/>
                <a:gd name="T28" fmla="*/ 2147483647 w 35"/>
                <a:gd name="T29" fmla="*/ 2147483647 h 43"/>
                <a:gd name="T30" fmla="*/ 2147483647 w 35"/>
                <a:gd name="T31" fmla="*/ 2147483647 h 43"/>
                <a:gd name="T32" fmla="*/ 2147483647 w 35"/>
                <a:gd name="T33" fmla="*/ 2147483647 h 43"/>
                <a:gd name="T34" fmla="*/ 2147483647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"/>
                <a:gd name="T55" fmla="*/ 0 h 43"/>
                <a:gd name="T56" fmla="*/ 35 w 35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2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2147483647 w 53"/>
                <a:gd name="T11" fmla="*/ 2147483647 h 21"/>
                <a:gd name="T12" fmla="*/ 2147483647 w 53"/>
                <a:gd name="T13" fmla="*/ 2147483647 h 21"/>
                <a:gd name="T14" fmla="*/ 2147483647 w 53"/>
                <a:gd name="T15" fmla="*/ 2147483647 h 21"/>
                <a:gd name="T16" fmla="*/ 0 w 53"/>
                <a:gd name="T17" fmla="*/ 2147483647 h 21"/>
                <a:gd name="T18" fmla="*/ 2147483647 w 53"/>
                <a:gd name="T19" fmla="*/ 2147483647 h 21"/>
                <a:gd name="T20" fmla="*/ 2147483647 w 53"/>
                <a:gd name="T21" fmla="*/ 2147483647 h 21"/>
                <a:gd name="T22" fmla="*/ 2147483647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21"/>
                <a:gd name="T50" fmla="*/ 53 w 53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3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147483647 w 43"/>
                <a:gd name="T1" fmla="*/ 0 h 38"/>
                <a:gd name="T2" fmla="*/ 2147483647 w 43"/>
                <a:gd name="T3" fmla="*/ 0 h 38"/>
                <a:gd name="T4" fmla="*/ 2147483647 w 43"/>
                <a:gd name="T5" fmla="*/ 0 h 38"/>
                <a:gd name="T6" fmla="*/ 214748364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2147483647 w 43"/>
                <a:gd name="T15" fmla="*/ 2147483647 h 38"/>
                <a:gd name="T16" fmla="*/ 2147483647 w 43"/>
                <a:gd name="T17" fmla="*/ 2147483647 h 38"/>
                <a:gd name="T18" fmla="*/ 2147483647 w 43"/>
                <a:gd name="T19" fmla="*/ 2147483647 h 38"/>
                <a:gd name="T20" fmla="*/ 2147483647 w 43"/>
                <a:gd name="T21" fmla="*/ 2147483647 h 38"/>
                <a:gd name="T22" fmla="*/ 2147483647 w 43"/>
                <a:gd name="T23" fmla="*/ 2147483647 h 38"/>
                <a:gd name="T24" fmla="*/ 2147483647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3"/>
                <a:gd name="T76" fmla="*/ 0 h 38"/>
                <a:gd name="T77" fmla="*/ 43 w 43"/>
                <a:gd name="T78" fmla="*/ 38 h 3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4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2147483647 w 20"/>
                <a:gd name="T3" fmla="*/ 2147483647 h 5"/>
                <a:gd name="T4" fmla="*/ 2147483647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2147483647 h 5"/>
                <a:gd name="T16" fmla="*/ 2147483647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5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2147483647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22"/>
                <a:gd name="T59" fmla="*/ 73 w 73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6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2147483647 w 281"/>
                <a:gd name="T25" fmla="*/ 2147483647 h 193"/>
                <a:gd name="T26" fmla="*/ 0 w 281"/>
                <a:gd name="T27" fmla="*/ 2147483647 h 193"/>
                <a:gd name="T28" fmla="*/ 2147483647 w 281"/>
                <a:gd name="T29" fmla="*/ 2147483647 h 193"/>
                <a:gd name="T30" fmla="*/ 2147483647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1"/>
                <a:gd name="T109" fmla="*/ 0 h 193"/>
                <a:gd name="T110" fmla="*/ 281 w 281"/>
                <a:gd name="T111" fmla="*/ 193 h 1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7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2147483647 h 56"/>
                <a:gd name="T2" fmla="*/ 2147483647 w 120"/>
                <a:gd name="T3" fmla="*/ 2147483647 h 56"/>
                <a:gd name="T4" fmla="*/ 2147483647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2147483647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2147483647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56"/>
                <a:gd name="T92" fmla="*/ 120 w 120"/>
                <a:gd name="T93" fmla="*/ 56 h 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8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2147483647 w 574"/>
                <a:gd name="T1" fmla="*/ 2147483647 h 204"/>
                <a:gd name="T2" fmla="*/ 2147483647 w 574"/>
                <a:gd name="T3" fmla="*/ 2147483647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2147483647 w 574"/>
                <a:gd name="T11" fmla="*/ 2147483647 h 204"/>
                <a:gd name="T12" fmla="*/ 2147483647 w 574"/>
                <a:gd name="T13" fmla="*/ 2147483647 h 204"/>
                <a:gd name="T14" fmla="*/ 0 w 574"/>
                <a:gd name="T15" fmla="*/ 2147483647 h 204"/>
                <a:gd name="T16" fmla="*/ 2147483647 w 574"/>
                <a:gd name="T17" fmla="*/ 2147483647 h 204"/>
                <a:gd name="T18" fmla="*/ 2147483647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4"/>
                <a:gd name="T160" fmla="*/ 0 h 204"/>
                <a:gd name="T161" fmla="*/ 574 w 574"/>
                <a:gd name="T162" fmla="*/ 204 h 2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9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2147483647 h 129"/>
                <a:gd name="T44" fmla="*/ 2147483647 w 207"/>
                <a:gd name="T45" fmla="*/ 0 h 129"/>
                <a:gd name="T46" fmla="*/ 0 w 207"/>
                <a:gd name="T47" fmla="*/ 0 h 129"/>
                <a:gd name="T48" fmla="*/ 2147483647 w 207"/>
                <a:gd name="T49" fmla="*/ 2147483647 h 129"/>
                <a:gd name="T50" fmla="*/ 2147483647 w 207"/>
                <a:gd name="T51" fmla="*/ 2147483647 h 129"/>
                <a:gd name="T52" fmla="*/ 2147483647 w 207"/>
                <a:gd name="T53" fmla="*/ 2147483647 h 129"/>
                <a:gd name="T54" fmla="*/ 2147483647 w 207"/>
                <a:gd name="T55" fmla="*/ 2147483647 h 129"/>
                <a:gd name="T56" fmla="*/ 2147483647 w 207"/>
                <a:gd name="T57" fmla="*/ 2147483647 h 129"/>
                <a:gd name="T58" fmla="*/ 2147483647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2147483647 w 207"/>
                <a:gd name="T69" fmla="*/ 2147483647 h 129"/>
                <a:gd name="T70" fmla="*/ 2147483647 w 207"/>
                <a:gd name="T71" fmla="*/ 2147483647 h 129"/>
                <a:gd name="T72" fmla="*/ 0 w 207"/>
                <a:gd name="T73" fmla="*/ 2147483647 h 129"/>
                <a:gd name="T74" fmla="*/ 2147483647 w 207"/>
                <a:gd name="T75" fmla="*/ 2147483647 h 129"/>
                <a:gd name="T76" fmla="*/ 2147483647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7"/>
                <a:gd name="T130" fmla="*/ 0 h 129"/>
                <a:gd name="T131" fmla="*/ 207 w 207"/>
                <a:gd name="T132" fmla="*/ 129 h 12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0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2147483647 h 154"/>
                <a:gd name="T4" fmla="*/ 2147483647 w 72"/>
                <a:gd name="T5" fmla="*/ 2147483647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2147483647 w 72"/>
                <a:gd name="T45" fmla="*/ 2147483647 h 154"/>
                <a:gd name="T46" fmla="*/ 2147483647 w 72"/>
                <a:gd name="T47" fmla="*/ 2147483647 h 154"/>
                <a:gd name="T48" fmla="*/ 2147483647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154"/>
                <a:gd name="T101" fmla="*/ 72 w 72"/>
                <a:gd name="T102" fmla="*/ 154 h 1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1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2147483647 w 214"/>
                <a:gd name="T1" fmla="*/ 2147483647 h 271"/>
                <a:gd name="T2" fmla="*/ 2147483647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2147483647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14"/>
                <a:gd name="T109" fmla="*/ 0 h 271"/>
                <a:gd name="T110" fmla="*/ 214 w 214"/>
                <a:gd name="T111" fmla="*/ 271 h 27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2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3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147483647 h 169"/>
                <a:gd name="T40" fmla="*/ 2147483647 w 332"/>
                <a:gd name="T41" fmla="*/ 2147483647 h 169"/>
                <a:gd name="T42" fmla="*/ 2147483647 w 332"/>
                <a:gd name="T43" fmla="*/ 0 h 169"/>
                <a:gd name="T44" fmla="*/ 2147483647 w 332"/>
                <a:gd name="T45" fmla="*/ 2147483647 h 169"/>
                <a:gd name="T46" fmla="*/ 2147483647 w 332"/>
                <a:gd name="T47" fmla="*/ 2147483647 h 169"/>
                <a:gd name="T48" fmla="*/ 2147483647 w 332"/>
                <a:gd name="T49" fmla="*/ 2147483647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2147483647 w 332"/>
                <a:gd name="T67" fmla="*/ 2147483647 h 169"/>
                <a:gd name="T68" fmla="*/ 214748364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2"/>
                <a:gd name="T106" fmla="*/ 0 h 169"/>
                <a:gd name="T107" fmla="*/ 332 w 332"/>
                <a:gd name="T108" fmla="*/ 169 h 16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4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2147483647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6"/>
                <a:gd name="T100" fmla="*/ 0 h 235"/>
                <a:gd name="T101" fmla="*/ 286 w 286"/>
                <a:gd name="T102" fmla="*/ 235 h 2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5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5"/>
                <a:gd name="T124" fmla="*/ 0 h 191"/>
                <a:gd name="T125" fmla="*/ 205 w 205"/>
                <a:gd name="T126" fmla="*/ 191 h 1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6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9"/>
                <a:gd name="T148" fmla="*/ 0 h 154"/>
                <a:gd name="T149" fmla="*/ 329 w 329"/>
                <a:gd name="T150" fmla="*/ 154 h 1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7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2147483647 w 306"/>
                <a:gd name="T37" fmla="*/ 2147483647 h 293"/>
                <a:gd name="T38" fmla="*/ 0 w 306"/>
                <a:gd name="T39" fmla="*/ 2147483647 h 293"/>
                <a:gd name="T40" fmla="*/ 2147483647 w 306"/>
                <a:gd name="T41" fmla="*/ 2147483647 h 293"/>
                <a:gd name="T42" fmla="*/ 2147483647 w 306"/>
                <a:gd name="T43" fmla="*/ 2147483647 h 293"/>
                <a:gd name="T44" fmla="*/ 2147483647 w 306"/>
                <a:gd name="T45" fmla="*/ 2147483647 h 293"/>
                <a:gd name="T46" fmla="*/ 2147483647 w 306"/>
                <a:gd name="T47" fmla="*/ 2147483647 h 293"/>
                <a:gd name="T48" fmla="*/ 2147483647 w 306"/>
                <a:gd name="T49" fmla="*/ 2147483647 h 293"/>
                <a:gd name="T50" fmla="*/ 2147483647 w 306"/>
                <a:gd name="T51" fmla="*/ 0 h 293"/>
                <a:gd name="T52" fmla="*/ 2147483647 w 306"/>
                <a:gd name="T53" fmla="*/ 2147483647 h 293"/>
                <a:gd name="T54" fmla="*/ 2147483647 w 306"/>
                <a:gd name="T55" fmla="*/ 2147483647 h 293"/>
                <a:gd name="T56" fmla="*/ 2147483647 w 306"/>
                <a:gd name="T57" fmla="*/ 2147483647 h 293"/>
                <a:gd name="T58" fmla="*/ 2147483647 w 306"/>
                <a:gd name="T59" fmla="*/ 2147483647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6"/>
                <a:gd name="T130" fmla="*/ 0 h 293"/>
                <a:gd name="T131" fmla="*/ 306 w 306"/>
                <a:gd name="T132" fmla="*/ 293 h 2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8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9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37"/>
                <a:gd name="T181" fmla="*/ 0 h 690"/>
                <a:gd name="T182" fmla="*/ 1037 w 1037"/>
                <a:gd name="T183" fmla="*/ 690 h 6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0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73"/>
                <a:gd name="T137" fmla="*/ 120 w 120"/>
                <a:gd name="T138" fmla="*/ 173 h 17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1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2147483647 w 200"/>
                <a:gd name="T51" fmla="*/ 2147483647 h 98"/>
                <a:gd name="T52" fmla="*/ 2147483647 w 200"/>
                <a:gd name="T53" fmla="*/ 2147483647 h 98"/>
                <a:gd name="T54" fmla="*/ 2147483647 w 200"/>
                <a:gd name="T55" fmla="*/ 2147483647 h 98"/>
                <a:gd name="T56" fmla="*/ 2147483647 w 200"/>
                <a:gd name="T57" fmla="*/ 2147483647 h 98"/>
                <a:gd name="T58" fmla="*/ 2147483647 w 200"/>
                <a:gd name="T59" fmla="*/ 2147483647 h 98"/>
                <a:gd name="T60" fmla="*/ 2147483647 w 200"/>
                <a:gd name="T61" fmla="*/ 2147483647 h 98"/>
                <a:gd name="T62" fmla="*/ 0 w 200"/>
                <a:gd name="T63" fmla="*/ 2147483647 h 98"/>
                <a:gd name="T64" fmla="*/ 2147483647 w 200"/>
                <a:gd name="T65" fmla="*/ 2147483647 h 98"/>
                <a:gd name="T66" fmla="*/ 2147483647 w 200"/>
                <a:gd name="T67" fmla="*/ 2147483647 h 98"/>
                <a:gd name="T68" fmla="*/ 2147483647 w 200"/>
                <a:gd name="T69" fmla="*/ 2147483647 h 98"/>
                <a:gd name="T70" fmla="*/ 2147483647 w 200"/>
                <a:gd name="T71" fmla="*/ 2147483647 h 98"/>
                <a:gd name="T72" fmla="*/ 2147483647 w 200"/>
                <a:gd name="T73" fmla="*/ 2147483647 h 98"/>
                <a:gd name="T74" fmla="*/ 2147483647 w 200"/>
                <a:gd name="T75" fmla="*/ 2147483647 h 98"/>
                <a:gd name="T76" fmla="*/ 2147483647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2147483647 h 98"/>
                <a:gd name="T84" fmla="*/ 2147483647 w 200"/>
                <a:gd name="T85" fmla="*/ 214748364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"/>
                <a:gd name="T172" fmla="*/ 0 h 98"/>
                <a:gd name="T173" fmla="*/ 200 w 200"/>
                <a:gd name="T174" fmla="*/ 98 h 9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2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42"/>
                <a:gd name="T113" fmla="*/ 186 w 186"/>
                <a:gd name="T114" fmla="*/ 142 h 1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3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0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2"/>
                <a:gd name="T130" fmla="*/ 0 h 105"/>
                <a:gd name="T131" fmla="*/ 192 w 192"/>
                <a:gd name="T132" fmla="*/ 105 h 10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56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1420" y="2596201"/>
              <a:ext cx="32261" cy="131723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79056416 h 254"/>
                <a:gd name="T4" fmla="*/ 2147483647 w 80"/>
                <a:gd name="T5" fmla="*/ 558381544 h 254"/>
                <a:gd name="T6" fmla="*/ 2147483647 w 80"/>
                <a:gd name="T7" fmla="*/ 977100329 h 254"/>
                <a:gd name="T8" fmla="*/ 2147483647 w 80"/>
                <a:gd name="T9" fmla="*/ 1395819374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89473499 w 80"/>
                <a:gd name="T35" fmla="*/ 2147483647 h 254"/>
                <a:gd name="T36" fmla="*/ 796008289 w 80"/>
                <a:gd name="T37" fmla="*/ 2147483647 h 254"/>
                <a:gd name="T38" fmla="*/ 1230131080 w 80"/>
                <a:gd name="T39" fmla="*/ 2147483647 h 254"/>
                <a:gd name="T40" fmla="*/ 1592016579 w 80"/>
                <a:gd name="T41" fmla="*/ 2147483647 h 254"/>
                <a:gd name="T42" fmla="*/ 2026139578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"/>
                <a:gd name="T70" fmla="*/ 0 h 254"/>
                <a:gd name="T71" fmla="*/ 80 w 80"/>
                <a:gd name="T72" fmla="*/ 254 h 25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15555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259"/>
                <a:gd name="T155" fmla="*/ 167 w 167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6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5"/>
                <a:gd name="T139" fmla="*/ 0 h 273"/>
                <a:gd name="T140" fmla="*/ 225 w 225"/>
                <a:gd name="T141" fmla="*/ 273 h 27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7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2"/>
                <a:gd name="T163" fmla="*/ 0 h 248"/>
                <a:gd name="T164" fmla="*/ 232 w 232"/>
                <a:gd name="T165" fmla="*/ 248 h 2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8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9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3"/>
                <a:gd name="T145" fmla="*/ 0 h 370"/>
                <a:gd name="T146" fmla="*/ 373 w 373"/>
                <a:gd name="T147" fmla="*/ 370 h 3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0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77"/>
                <a:gd name="T175" fmla="*/ 0 h 826"/>
                <a:gd name="T176" fmla="*/ 877 w 877"/>
                <a:gd name="T177" fmla="*/ 826 h 8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1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6"/>
                <a:gd name="T163" fmla="*/ 0 h 455"/>
                <a:gd name="T164" fmla="*/ 206 w 206"/>
                <a:gd name="T165" fmla="*/ 455 h 45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2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8"/>
                <a:gd name="T124" fmla="*/ 0 h 406"/>
                <a:gd name="T125" fmla="*/ 518 w 518"/>
                <a:gd name="T126" fmla="*/ 406 h 4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3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46"/>
                <a:gd name="T136" fmla="*/ 0 h 178"/>
                <a:gd name="T137" fmla="*/ 446 w 446"/>
                <a:gd name="T138" fmla="*/ 178 h 17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4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73"/>
                <a:gd name="T41" fmla="*/ 28 w 28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5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1"/>
                <a:gd name="T148" fmla="*/ 0 h 757"/>
                <a:gd name="T149" fmla="*/ 531 w 531"/>
                <a:gd name="T150" fmla="*/ 757 h 75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6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0"/>
                <a:gd name="T70" fmla="*/ 0 h 51"/>
                <a:gd name="T71" fmla="*/ 60 w 60"/>
                <a:gd name="T72" fmla="*/ 51 h 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7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6"/>
                <a:gd name="T76" fmla="*/ 0 h 51"/>
                <a:gd name="T77" fmla="*/ 66 w 66"/>
                <a:gd name="T78" fmla="*/ 51 h 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8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3"/>
                <a:gd name="T79" fmla="*/ 0 h 74"/>
                <a:gd name="T80" fmla="*/ 113 w 113"/>
                <a:gd name="T81" fmla="*/ 74 h 7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9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0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1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5"/>
                <a:gd name="T79" fmla="*/ 0 h 81"/>
                <a:gd name="T80" fmla="*/ 125 w 125"/>
                <a:gd name="T81" fmla="*/ 81 h 8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2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5"/>
                <a:gd name="T145" fmla="*/ 0 h 388"/>
                <a:gd name="T146" fmla="*/ 355 w 355"/>
                <a:gd name="T147" fmla="*/ 388 h 3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3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4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45"/>
                <a:gd name="T151" fmla="*/ 0 h 549"/>
                <a:gd name="T152" fmla="*/ 545 w 545"/>
                <a:gd name="T153" fmla="*/ 549 h 54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5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2"/>
                <a:gd name="T190" fmla="*/ 0 h 832"/>
                <a:gd name="T191" fmla="*/ 452 w 452"/>
                <a:gd name="T192" fmla="*/ 832 h 8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6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0"/>
                <a:gd name="T64" fmla="*/ 0 h 126"/>
                <a:gd name="T65" fmla="*/ 80 w 80"/>
                <a:gd name="T66" fmla="*/ 126 h 1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7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4"/>
                <a:gd name="T100" fmla="*/ 0 h 117"/>
                <a:gd name="T101" fmla="*/ 124 w 124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8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56"/>
                <a:gd name="T166" fmla="*/ 0 h 900"/>
                <a:gd name="T167" fmla="*/ 1156 w 1156"/>
                <a:gd name="T168" fmla="*/ 900 h 9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9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0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86"/>
                <a:gd name="T118" fmla="*/ 0 h 228"/>
                <a:gd name="T119" fmla="*/ 286 w 286"/>
                <a:gd name="T120" fmla="*/ 228 h 22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1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24"/>
                <a:gd name="T187" fmla="*/ 0 h 505"/>
                <a:gd name="T188" fmla="*/ 524 w 524"/>
                <a:gd name="T189" fmla="*/ 505 h 5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2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3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4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5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0"/>
                <a:gd name="T97" fmla="*/ 0 h 112"/>
                <a:gd name="T98" fmla="*/ 180 w 180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6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92"/>
                <a:gd name="T131" fmla="*/ 173 w 173"/>
                <a:gd name="T132" fmla="*/ 192 h 1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7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3"/>
                <a:gd name="T163" fmla="*/ 0 h 252"/>
                <a:gd name="T164" fmla="*/ 233 w 233"/>
                <a:gd name="T165" fmla="*/ 252 h 2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8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380"/>
                <a:gd name="T185" fmla="*/ 246 w 246"/>
                <a:gd name="T186" fmla="*/ 380 h 3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9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3"/>
                <a:gd name="T106" fmla="*/ 0 h 38"/>
                <a:gd name="T107" fmla="*/ 193 w 193"/>
                <a:gd name="T108" fmla="*/ 38 h 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0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301"/>
                <a:gd name="T119" fmla="*/ 99 w 99"/>
                <a:gd name="T120" fmla="*/ 301 h 3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1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57"/>
                <a:gd name="T185" fmla="*/ 173 w 173"/>
                <a:gd name="T186" fmla="*/ 357 h 35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2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74"/>
                <a:gd name="T56" fmla="*/ 50 w 50"/>
                <a:gd name="T57" fmla="*/ 74 h 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3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4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6"/>
                <a:gd name="T154" fmla="*/ 0 h 326"/>
                <a:gd name="T155" fmla="*/ 266 w 266"/>
                <a:gd name="T156" fmla="*/ 326 h 3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5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6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7"/>
                <a:gd name="T142" fmla="*/ 0 h 123"/>
                <a:gd name="T143" fmla="*/ 167 w 167"/>
                <a:gd name="T144" fmla="*/ 123 h 12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7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8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518"/>
                <a:gd name="T134" fmla="*/ 471 w 471"/>
                <a:gd name="T135" fmla="*/ 518 h 51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9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3"/>
                <a:gd name="T121" fmla="*/ 0 h 246"/>
                <a:gd name="T122" fmla="*/ 293 w 293"/>
                <a:gd name="T123" fmla="*/ 246 h 2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0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"/>
                <a:gd name="T124" fmla="*/ 0 h 246"/>
                <a:gd name="T125" fmla="*/ 200 w 200"/>
                <a:gd name="T126" fmla="*/ 246 h 24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1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8"/>
                <a:gd name="T133" fmla="*/ 0 h 487"/>
                <a:gd name="T134" fmla="*/ 538 w 538"/>
                <a:gd name="T135" fmla="*/ 487 h 48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2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3"/>
                <a:gd name="T169" fmla="*/ 0 h 246"/>
                <a:gd name="T170" fmla="*/ 253 w 253"/>
                <a:gd name="T171" fmla="*/ 246 h 2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3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41"/>
                <a:gd name="T124" fmla="*/ 0 h 228"/>
                <a:gd name="T125" fmla="*/ 141 w 141"/>
                <a:gd name="T126" fmla="*/ 228 h 2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04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1589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0 h 110"/>
                  <a:gd name="T2" fmla="*/ 0 w 60"/>
                  <a:gd name="T3" fmla="*/ 0 h 110"/>
                  <a:gd name="T4" fmla="*/ 0 w 60"/>
                  <a:gd name="T5" fmla="*/ 0 h 110"/>
                  <a:gd name="T6" fmla="*/ 0 w 60"/>
                  <a:gd name="T7" fmla="*/ 0 h 110"/>
                  <a:gd name="T8" fmla="*/ 0 w 60"/>
                  <a:gd name="T9" fmla="*/ 0 h 110"/>
                  <a:gd name="T10" fmla="*/ 0 w 60"/>
                  <a:gd name="T11" fmla="*/ 0 h 110"/>
                  <a:gd name="T12" fmla="*/ 0 w 60"/>
                  <a:gd name="T13" fmla="*/ 0 h 110"/>
                  <a:gd name="T14" fmla="*/ 0 w 60"/>
                  <a:gd name="T15" fmla="*/ 0 h 110"/>
                  <a:gd name="T16" fmla="*/ 0 w 60"/>
                  <a:gd name="T17" fmla="*/ 0 h 110"/>
                  <a:gd name="T18" fmla="*/ 0 w 60"/>
                  <a:gd name="T19" fmla="*/ 0 h 110"/>
                  <a:gd name="T20" fmla="*/ 0 w 60"/>
                  <a:gd name="T21" fmla="*/ 0 h 110"/>
                  <a:gd name="T22" fmla="*/ 0 w 60"/>
                  <a:gd name="T23" fmla="*/ 0 h 110"/>
                  <a:gd name="T24" fmla="*/ 0 w 60"/>
                  <a:gd name="T25" fmla="*/ 0 h 110"/>
                  <a:gd name="T26" fmla="*/ 0 w 60"/>
                  <a:gd name="T27" fmla="*/ 0 h 110"/>
                  <a:gd name="T28" fmla="*/ 0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0 h 110"/>
                  <a:gd name="T48" fmla="*/ 0 w 60"/>
                  <a:gd name="T49" fmla="*/ 0 h 110"/>
                  <a:gd name="T50" fmla="*/ 0 w 60"/>
                  <a:gd name="T51" fmla="*/ 0 h 110"/>
                  <a:gd name="T52" fmla="*/ 0 w 60"/>
                  <a:gd name="T53" fmla="*/ 0 h 110"/>
                  <a:gd name="T54" fmla="*/ 0 w 60"/>
                  <a:gd name="T55" fmla="*/ 0 h 110"/>
                  <a:gd name="T56" fmla="*/ 0 w 60"/>
                  <a:gd name="T57" fmla="*/ 0 h 110"/>
                  <a:gd name="T58" fmla="*/ 0 w 60"/>
                  <a:gd name="T59" fmla="*/ 0 h 110"/>
                  <a:gd name="T60" fmla="*/ 0 w 60"/>
                  <a:gd name="T61" fmla="*/ 0 h 110"/>
                  <a:gd name="T62" fmla="*/ 0 w 60"/>
                  <a:gd name="T63" fmla="*/ 0 h 110"/>
                  <a:gd name="T64" fmla="*/ 0 w 60"/>
                  <a:gd name="T65" fmla="*/ 0 h 110"/>
                  <a:gd name="T66" fmla="*/ 0 w 60"/>
                  <a:gd name="T67" fmla="*/ 0 h 110"/>
                  <a:gd name="T68" fmla="*/ 0 w 60"/>
                  <a:gd name="T69" fmla="*/ 0 h 110"/>
                  <a:gd name="T70" fmla="*/ 0 w 60"/>
                  <a:gd name="T71" fmla="*/ 0 h 110"/>
                  <a:gd name="T72" fmla="*/ 0 w 60"/>
                  <a:gd name="T73" fmla="*/ 0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0"/>
                  <a:gd name="T112" fmla="*/ 0 h 110"/>
                  <a:gd name="T113" fmla="*/ 60 w 60"/>
                  <a:gd name="T114" fmla="*/ 110 h 11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0 h 75"/>
                  <a:gd name="T12" fmla="*/ 0 w 72"/>
                  <a:gd name="T13" fmla="*/ 0 h 75"/>
                  <a:gd name="T14" fmla="*/ 0 w 72"/>
                  <a:gd name="T15" fmla="*/ 0 h 75"/>
                  <a:gd name="T16" fmla="*/ 0 w 72"/>
                  <a:gd name="T17" fmla="*/ 0 h 75"/>
                  <a:gd name="T18" fmla="*/ 0 w 72"/>
                  <a:gd name="T19" fmla="*/ 0 h 75"/>
                  <a:gd name="T20" fmla="*/ 0 w 72"/>
                  <a:gd name="T21" fmla="*/ 0 h 75"/>
                  <a:gd name="T22" fmla="*/ 0 w 72"/>
                  <a:gd name="T23" fmla="*/ 0 h 75"/>
                  <a:gd name="T24" fmla="*/ 0 w 72"/>
                  <a:gd name="T25" fmla="*/ 0 h 75"/>
                  <a:gd name="T26" fmla="*/ 0 w 72"/>
                  <a:gd name="T27" fmla="*/ 0 h 75"/>
                  <a:gd name="T28" fmla="*/ 0 w 72"/>
                  <a:gd name="T29" fmla="*/ 0 h 75"/>
                  <a:gd name="T30" fmla="*/ 0 w 72"/>
                  <a:gd name="T31" fmla="*/ 0 h 75"/>
                  <a:gd name="T32" fmla="*/ 0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2"/>
                  <a:gd name="T73" fmla="*/ 0 h 75"/>
                  <a:gd name="T74" fmla="*/ 72 w 72"/>
                  <a:gd name="T75" fmla="*/ 75 h 7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0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0 h 49"/>
                  <a:gd name="T26" fmla="*/ 0 w 15"/>
                  <a:gd name="T27" fmla="*/ 0 h 49"/>
                  <a:gd name="T28" fmla="*/ 0 w 15"/>
                  <a:gd name="T29" fmla="*/ 0 h 49"/>
                  <a:gd name="T30" fmla="*/ 0 w 15"/>
                  <a:gd name="T31" fmla="*/ 0 h 49"/>
                  <a:gd name="T32" fmla="*/ 0 w 15"/>
                  <a:gd name="T33" fmla="*/ 0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"/>
                  <a:gd name="T52" fmla="*/ 0 h 49"/>
                  <a:gd name="T53" fmla="*/ 15 w 15"/>
                  <a:gd name="T54" fmla="*/ 49 h 4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0 w 47"/>
                  <a:gd name="T19" fmla="*/ 0 h 40"/>
                  <a:gd name="T20" fmla="*/ 0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7"/>
                  <a:gd name="T46" fmla="*/ 0 h 40"/>
                  <a:gd name="T47" fmla="*/ 47 w 47"/>
                  <a:gd name="T48" fmla="*/ 40 h 4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31"/>
                  <a:gd name="T41" fmla="*/ 39 w 39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9"/>
                  <a:gd name="T23" fmla="*/ 34 w 3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0 w 126"/>
                  <a:gd name="T1" fmla="*/ 0 h 166"/>
                  <a:gd name="T2" fmla="*/ 0 w 126"/>
                  <a:gd name="T3" fmla="*/ 0 h 166"/>
                  <a:gd name="T4" fmla="*/ 0 w 126"/>
                  <a:gd name="T5" fmla="*/ 0 h 166"/>
                  <a:gd name="T6" fmla="*/ 0 w 126"/>
                  <a:gd name="T7" fmla="*/ 0 h 166"/>
                  <a:gd name="T8" fmla="*/ 0 w 126"/>
                  <a:gd name="T9" fmla="*/ 0 h 166"/>
                  <a:gd name="T10" fmla="*/ 0 w 126"/>
                  <a:gd name="T11" fmla="*/ 0 h 166"/>
                  <a:gd name="T12" fmla="*/ 0 w 126"/>
                  <a:gd name="T13" fmla="*/ 0 h 166"/>
                  <a:gd name="T14" fmla="*/ 0 w 126"/>
                  <a:gd name="T15" fmla="*/ 0 h 166"/>
                  <a:gd name="T16" fmla="*/ 0 w 126"/>
                  <a:gd name="T17" fmla="*/ 0 h 166"/>
                  <a:gd name="T18" fmla="*/ 0 w 126"/>
                  <a:gd name="T19" fmla="*/ 0 h 166"/>
                  <a:gd name="T20" fmla="*/ 0 w 126"/>
                  <a:gd name="T21" fmla="*/ 0 h 166"/>
                  <a:gd name="T22" fmla="*/ 0 w 126"/>
                  <a:gd name="T23" fmla="*/ 0 h 166"/>
                  <a:gd name="T24" fmla="*/ 0 w 126"/>
                  <a:gd name="T25" fmla="*/ 0 h 166"/>
                  <a:gd name="T26" fmla="*/ 0 w 126"/>
                  <a:gd name="T27" fmla="*/ 0 h 166"/>
                  <a:gd name="T28" fmla="*/ 0 w 126"/>
                  <a:gd name="T29" fmla="*/ 0 h 166"/>
                  <a:gd name="T30" fmla="*/ 0 w 126"/>
                  <a:gd name="T31" fmla="*/ 0 h 166"/>
                  <a:gd name="T32" fmla="*/ 0 w 126"/>
                  <a:gd name="T33" fmla="*/ 0 h 166"/>
                  <a:gd name="T34" fmla="*/ 0 w 126"/>
                  <a:gd name="T35" fmla="*/ 0 h 166"/>
                  <a:gd name="T36" fmla="*/ 0 w 126"/>
                  <a:gd name="T37" fmla="*/ 0 h 166"/>
                  <a:gd name="T38" fmla="*/ 0 w 126"/>
                  <a:gd name="T39" fmla="*/ 0 h 166"/>
                  <a:gd name="T40" fmla="*/ 0 w 126"/>
                  <a:gd name="T41" fmla="*/ 0 h 166"/>
                  <a:gd name="T42" fmla="*/ 0 w 126"/>
                  <a:gd name="T43" fmla="*/ 0 h 166"/>
                  <a:gd name="T44" fmla="*/ 0 w 126"/>
                  <a:gd name="T45" fmla="*/ 0 h 166"/>
                  <a:gd name="T46" fmla="*/ 0 w 126"/>
                  <a:gd name="T47" fmla="*/ 0 h 166"/>
                  <a:gd name="T48" fmla="*/ 0 w 126"/>
                  <a:gd name="T49" fmla="*/ 0 h 166"/>
                  <a:gd name="T50" fmla="*/ 0 w 126"/>
                  <a:gd name="T51" fmla="*/ 0 h 166"/>
                  <a:gd name="T52" fmla="*/ 0 w 126"/>
                  <a:gd name="T53" fmla="*/ 0 h 166"/>
                  <a:gd name="T54" fmla="*/ 0 w 126"/>
                  <a:gd name="T55" fmla="*/ 0 h 166"/>
                  <a:gd name="T56" fmla="*/ 0 w 126"/>
                  <a:gd name="T57" fmla="*/ 0 h 166"/>
                  <a:gd name="T58" fmla="*/ 0 w 126"/>
                  <a:gd name="T59" fmla="*/ 0 h 166"/>
                  <a:gd name="T60" fmla="*/ 0 w 126"/>
                  <a:gd name="T61" fmla="*/ 0 h 166"/>
                  <a:gd name="T62" fmla="*/ 0 w 126"/>
                  <a:gd name="T63" fmla="*/ 0 h 166"/>
                  <a:gd name="T64" fmla="*/ 0 w 126"/>
                  <a:gd name="T65" fmla="*/ 0 h 166"/>
                  <a:gd name="T66" fmla="*/ 0 w 126"/>
                  <a:gd name="T67" fmla="*/ 0 h 166"/>
                  <a:gd name="T68" fmla="*/ 0 w 126"/>
                  <a:gd name="T69" fmla="*/ 0 h 166"/>
                  <a:gd name="T70" fmla="*/ 0 w 126"/>
                  <a:gd name="T71" fmla="*/ 0 h 166"/>
                  <a:gd name="T72" fmla="*/ 0 w 126"/>
                  <a:gd name="T73" fmla="*/ 0 h 166"/>
                  <a:gd name="T74" fmla="*/ 0 w 126"/>
                  <a:gd name="T75" fmla="*/ 0 h 166"/>
                  <a:gd name="T76" fmla="*/ 0 w 126"/>
                  <a:gd name="T77" fmla="*/ 0 h 166"/>
                  <a:gd name="T78" fmla="*/ 0 w 126"/>
                  <a:gd name="T79" fmla="*/ 0 h 166"/>
                  <a:gd name="T80" fmla="*/ 0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6"/>
                  <a:gd name="T124" fmla="*/ 0 h 166"/>
                  <a:gd name="T125" fmla="*/ 126 w 126"/>
                  <a:gd name="T126" fmla="*/ 166 h 16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0 h 259"/>
                  <a:gd name="T2" fmla="*/ 0 w 259"/>
                  <a:gd name="T3" fmla="*/ 0 h 259"/>
                  <a:gd name="T4" fmla="*/ 0 w 259"/>
                  <a:gd name="T5" fmla="*/ 0 h 259"/>
                  <a:gd name="T6" fmla="*/ 0 w 259"/>
                  <a:gd name="T7" fmla="*/ 0 h 259"/>
                  <a:gd name="T8" fmla="*/ 0 w 259"/>
                  <a:gd name="T9" fmla="*/ 0 h 259"/>
                  <a:gd name="T10" fmla="*/ 0 w 259"/>
                  <a:gd name="T11" fmla="*/ 0 h 259"/>
                  <a:gd name="T12" fmla="*/ 0 w 259"/>
                  <a:gd name="T13" fmla="*/ 0 h 259"/>
                  <a:gd name="T14" fmla="*/ 0 w 259"/>
                  <a:gd name="T15" fmla="*/ 0 h 259"/>
                  <a:gd name="T16" fmla="*/ 0 w 259"/>
                  <a:gd name="T17" fmla="*/ 0 h 259"/>
                  <a:gd name="T18" fmla="*/ 0 w 259"/>
                  <a:gd name="T19" fmla="*/ 0 h 259"/>
                  <a:gd name="T20" fmla="*/ 0 w 259"/>
                  <a:gd name="T21" fmla="*/ 0 h 259"/>
                  <a:gd name="T22" fmla="*/ 0 w 259"/>
                  <a:gd name="T23" fmla="*/ 0 h 259"/>
                  <a:gd name="T24" fmla="*/ 0 w 259"/>
                  <a:gd name="T25" fmla="*/ 0 h 259"/>
                  <a:gd name="T26" fmla="*/ 0 w 259"/>
                  <a:gd name="T27" fmla="*/ 0 h 259"/>
                  <a:gd name="T28" fmla="*/ 0 w 259"/>
                  <a:gd name="T29" fmla="*/ 0 h 259"/>
                  <a:gd name="T30" fmla="*/ 0 w 259"/>
                  <a:gd name="T31" fmla="*/ 0 h 259"/>
                  <a:gd name="T32" fmla="*/ 0 w 259"/>
                  <a:gd name="T33" fmla="*/ 0 h 259"/>
                  <a:gd name="T34" fmla="*/ 0 w 259"/>
                  <a:gd name="T35" fmla="*/ 0 h 259"/>
                  <a:gd name="T36" fmla="*/ 0 w 259"/>
                  <a:gd name="T37" fmla="*/ 0 h 259"/>
                  <a:gd name="T38" fmla="*/ 0 w 259"/>
                  <a:gd name="T39" fmla="*/ 0 h 259"/>
                  <a:gd name="T40" fmla="*/ 0 w 259"/>
                  <a:gd name="T41" fmla="*/ 0 h 259"/>
                  <a:gd name="T42" fmla="*/ 0 w 259"/>
                  <a:gd name="T43" fmla="*/ 0 h 259"/>
                  <a:gd name="T44" fmla="*/ 0 w 259"/>
                  <a:gd name="T45" fmla="*/ 0 h 259"/>
                  <a:gd name="T46" fmla="*/ 0 w 259"/>
                  <a:gd name="T47" fmla="*/ 0 h 259"/>
                  <a:gd name="T48" fmla="*/ 0 w 259"/>
                  <a:gd name="T49" fmla="*/ 0 h 259"/>
                  <a:gd name="T50" fmla="*/ 0 w 259"/>
                  <a:gd name="T51" fmla="*/ 0 h 259"/>
                  <a:gd name="T52" fmla="*/ 0 w 259"/>
                  <a:gd name="T53" fmla="*/ 0 h 259"/>
                  <a:gd name="T54" fmla="*/ 0 w 259"/>
                  <a:gd name="T55" fmla="*/ 0 h 259"/>
                  <a:gd name="T56" fmla="*/ 0 w 259"/>
                  <a:gd name="T57" fmla="*/ 0 h 259"/>
                  <a:gd name="T58" fmla="*/ 0 w 259"/>
                  <a:gd name="T59" fmla="*/ 0 h 259"/>
                  <a:gd name="T60" fmla="*/ 0 w 259"/>
                  <a:gd name="T61" fmla="*/ 0 h 259"/>
                  <a:gd name="T62" fmla="*/ 0 w 259"/>
                  <a:gd name="T63" fmla="*/ 0 h 259"/>
                  <a:gd name="T64" fmla="*/ 0 w 259"/>
                  <a:gd name="T65" fmla="*/ 0 h 259"/>
                  <a:gd name="T66" fmla="*/ 0 w 259"/>
                  <a:gd name="T67" fmla="*/ 0 h 259"/>
                  <a:gd name="T68" fmla="*/ 0 w 259"/>
                  <a:gd name="T69" fmla="*/ 0 h 259"/>
                  <a:gd name="T70" fmla="*/ 0 w 259"/>
                  <a:gd name="T71" fmla="*/ 0 h 259"/>
                  <a:gd name="T72" fmla="*/ 0 w 259"/>
                  <a:gd name="T73" fmla="*/ 0 h 259"/>
                  <a:gd name="T74" fmla="*/ 0 w 259"/>
                  <a:gd name="T75" fmla="*/ 0 h 259"/>
                  <a:gd name="T76" fmla="*/ 0 w 259"/>
                  <a:gd name="T77" fmla="*/ 0 h 259"/>
                  <a:gd name="T78" fmla="*/ 0 w 259"/>
                  <a:gd name="T79" fmla="*/ 0 h 259"/>
                  <a:gd name="T80" fmla="*/ 0 w 259"/>
                  <a:gd name="T81" fmla="*/ 0 h 259"/>
                  <a:gd name="T82" fmla="*/ 0 w 259"/>
                  <a:gd name="T83" fmla="*/ 0 h 259"/>
                  <a:gd name="T84" fmla="*/ 0 w 259"/>
                  <a:gd name="T85" fmla="*/ 0 h 259"/>
                  <a:gd name="T86" fmla="*/ 0 w 259"/>
                  <a:gd name="T87" fmla="*/ 0 h 259"/>
                  <a:gd name="T88" fmla="*/ 0 w 259"/>
                  <a:gd name="T89" fmla="*/ 0 h 259"/>
                  <a:gd name="T90" fmla="*/ 0 w 259"/>
                  <a:gd name="T91" fmla="*/ 0 h 259"/>
                  <a:gd name="T92" fmla="*/ 0 w 259"/>
                  <a:gd name="T93" fmla="*/ 0 h 259"/>
                  <a:gd name="T94" fmla="*/ 0 w 259"/>
                  <a:gd name="T95" fmla="*/ 0 h 259"/>
                  <a:gd name="T96" fmla="*/ 0 w 259"/>
                  <a:gd name="T97" fmla="*/ 0 h 259"/>
                  <a:gd name="T98" fmla="*/ 0 w 259"/>
                  <a:gd name="T99" fmla="*/ 0 h 259"/>
                  <a:gd name="T100" fmla="*/ 0 w 259"/>
                  <a:gd name="T101" fmla="*/ 0 h 259"/>
                  <a:gd name="T102" fmla="*/ 0 w 259"/>
                  <a:gd name="T103" fmla="*/ 0 h 259"/>
                  <a:gd name="T104" fmla="*/ 0 w 259"/>
                  <a:gd name="T105" fmla="*/ 0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59"/>
                  <a:gd name="T160" fmla="*/ 0 h 259"/>
                  <a:gd name="T161" fmla="*/ 259 w 259"/>
                  <a:gd name="T162" fmla="*/ 259 h 25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0 w 72"/>
                  <a:gd name="T1" fmla="*/ 0 h 92"/>
                  <a:gd name="T2" fmla="*/ 0 w 72"/>
                  <a:gd name="T3" fmla="*/ 0 h 92"/>
                  <a:gd name="T4" fmla="*/ 0 w 72"/>
                  <a:gd name="T5" fmla="*/ 0 h 92"/>
                  <a:gd name="T6" fmla="*/ 0 w 72"/>
                  <a:gd name="T7" fmla="*/ 0 h 92"/>
                  <a:gd name="T8" fmla="*/ 0 w 72"/>
                  <a:gd name="T9" fmla="*/ 0 h 92"/>
                  <a:gd name="T10" fmla="*/ 0 w 72"/>
                  <a:gd name="T11" fmla="*/ 0 h 92"/>
                  <a:gd name="T12" fmla="*/ 0 w 72"/>
                  <a:gd name="T13" fmla="*/ 0 h 92"/>
                  <a:gd name="T14" fmla="*/ 0 w 72"/>
                  <a:gd name="T15" fmla="*/ 0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0 w 72"/>
                  <a:gd name="T29" fmla="*/ 0 h 92"/>
                  <a:gd name="T30" fmla="*/ 0 w 72"/>
                  <a:gd name="T31" fmla="*/ 0 h 92"/>
                  <a:gd name="T32" fmla="*/ 0 w 72"/>
                  <a:gd name="T33" fmla="*/ 0 h 92"/>
                  <a:gd name="T34" fmla="*/ 0 w 72"/>
                  <a:gd name="T35" fmla="*/ 0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2"/>
                  <a:gd name="T55" fmla="*/ 0 h 92"/>
                  <a:gd name="T56" fmla="*/ 72 w 72"/>
                  <a:gd name="T57" fmla="*/ 92 h 9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0 w 46"/>
                  <a:gd name="T7" fmla="*/ 0 h 62"/>
                  <a:gd name="T8" fmla="*/ 0 w 46"/>
                  <a:gd name="T9" fmla="*/ 0 h 62"/>
                  <a:gd name="T10" fmla="*/ 0 w 46"/>
                  <a:gd name="T11" fmla="*/ 0 h 62"/>
                  <a:gd name="T12" fmla="*/ 0 w 46"/>
                  <a:gd name="T13" fmla="*/ 0 h 62"/>
                  <a:gd name="T14" fmla="*/ 0 w 46"/>
                  <a:gd name="T15" fmla="*/ 0 h 62"/>
                  <a:gd name="T16" fmla="*/ 0 w 46"/>
                  <a:gd name="T17" fmla="*/ 0 h 62"/>
                  <a:gd name="T18" fmla="*/ 0 w 46"/>
                  <a:gd name="T19" fmla="*/ 0 h 62"/>
                  <a:gd name="T20" fmla="*/ 0 w 46"/>
                  <a:gd name="T21" fmla="*/ 0 h 62"/>
                  <a:gd name="T22" fmla="*/ 0 w 46"/>
                  <a:gd name="T23" fmla="*/ 0 h 62"/>
                  <a:gd name="T24" fmla="*/ 0 w 46"/>
                  <a:gd name="T25" fmla="*/ 0 h 62"/>
                  <a:gd name="T26" fmla="*/ 0 w 46"/>
                  <a:gd name="T27" fmla="*/ 0 h 62"/>
                  <a:gd name="T28" fmla="*/ 0 w 46"/>
                  <a:gd name="T29" fmla="*/ 0 h 62"/>
                  <a:gd name="T30" fmla="*/ 0 w 46"/>
                  <a:gd name="T31" fmla="*/ 0 h 62"/>
                  <a:gd name="T32" fmla="*/ 0 w 46"/>
                  <a:gd name="T33" fmla="*/ 0 h 62"/>
                  <a:gd name="T34" fmla="*/ 0 w 46"/>
                  <a:gd name="T35" fmla="*/ 0 h 62"/>
                  <a:gd name="T36" fmla="*/ 0 w 46"/>
                  <a:gd name="T37" fmla="*/ 0 h 62"/>
                  <a:gd name="T38" fmla="*/ 0 w 46"/>
                  <a:gd name="T39" fmla="*/ 0 h 62"/>
                  <a:gd name="T40" fmla="*/ 0 w 46"/>
                  <a:gd name="T41" fmla="*/ 0 h 62"/>
                  <a:gd name="T42" fmla="*/ 0 w 46"/>
                  <a:gd name="T43" fmla="*/ 0 h 62"/>
                  <a:gd name="T44" fmla="*/ 0 w 46"/>
                  <a:gd name="T45" fmla="*/ 0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46"/>
                  <a:gd name="T85" fmla="*/ 0 h 62"/>
                  <a:gd name="T86" fmla="*/ 46 w 46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0 w 152"/>
                  <a:gd name="T1" fmla="*/ 0 h 296"/>
                  <a:gd name="T2" fmla="*/ 0 w 152"/>
                  <a:gd name="T3" fmla="*/ 0 h 296"/>
                  <a:gd name="T4" fmla="*/ 0 w 152"/>
                  <a:gd name="T5" fmla="*/ 0 h 296"/>
                  <a:gd name="T6" fmla="*/ 0 w 152"/>
                  <a:gd name="T7" fmla="*/ 0 h 296"/>
                  <a:gd name="T8" fmla="*/ 0 w 152"/>
                  <a:gd name="T9" fmla="*/ 0 h 296"/>
                  <a:gd name="T10" fmla="*/ 0 w 152"/>
                  <a:gd name="T11" fmla="*/ 0 h 296"/>
                  <a:gd name="T12" fmla="*/ 0 w 152"/>
                  <a:gd name="T13" fmla="*/ 0 h 296"/>
                  <a:gd name="T14" fmla="*/ 0 w 152"/>
                  <a:gd name="T15" fmla="*/ 0 h 296"/>
                  <a:gd name="T16" fmla="*/ 0 w 152"/>
                  <a:gd name="T17" fmla="*/ 0 h 296"/>
                  <a:gd name="T18" fmla="*/ 0 w 152"/>
                  <a:gd name="T19" fmla="*/ 0 h 296"/>
                  <a:gd name="T20" fmla="*/ 0 w 152"/>
                  <a:gd name="T21" fmla="*/ 0 h 296"/>
                  <a:gd name="T22" fmla="*/ 0 w 152"/>
                  <a:gd name="T23" fmla="*/ 0 h 296"/>
                  <a:gd name="T24" fmla="*/ 0 w 152"/>
                  <a:gd name="T25" fmla="*/ 0 h 296"/>
                  <a:gd name="T26" fmla="*/ 0 w 152"/>
                  <a:gd name="T27" fmla="*/ 0 h 296"/>
                  <a:gd name="T28" fmla="*/ 0 w 152"/>
                  <a:gd name="T29" fmla="*/ 0 h 296"/>
                  <a:gd name="T30" fmla="*/ 0 w 152"/>
                  <a:gd name="T31" fmla="*/ 0 h 296"/>
                  <a:gd name="T32" fmla="*/ 0 w 152"/>
                  <a:gd name="T33" fmla="*/ 0 h 296"/>
                  <a:gd name="T34" fmla="*/ 0 w 152"/>
                  <a:gd name="T35" fmla="*/ 0 h 296"/>
                  <a:gd name="T36" fmla="*/ 0 w 152"/>
                  <a:gd name="T37" fmla="*/ 0 h 296"/>
                  <a:gd name="T38" fmla="*/ 0 w 152"/>
                  <a:gd name="T39" fmla="*/ 0 h 296"/>
                  <a:gd name="T40" fmla="*/ 0 w 152"/>
                  <a:gd name="T41" fmla="*/ 0 h 296"/>
                  <a:gd name="T42" fmla="*/ 0 w 152"/>
                  <a:gd name="T43" fmla="*/ 0 h 296"/>
                  <a:gd name="T44" fmla="*/ 0 w 152"/>
                  <a:gd name="T45" fmla="*/ 0 h 296"/>
                  <a:gd name="T46" fmla="*/ 0 w 152"/>
                  <a:gd name="T47" fmla="*/ 0 h 296"/>
                  <a:gd name="T48" fmla="*/ 0 w 152"/>
                  <a:gd name="T49" fmla="*/ 0 h 296"/>
                  <a:gd name="T50" fmla="*/ 0 w 152"/>
                  <a:gd name="T51" fmla="*/ 0 h 296"/>
                  <a:gd name="T52" fmla="*/ 0 w 152"/>
                  <a:gd name="T53" fmla="*/ 0 h 296"/>
                  <a:gd name="T54" fmla="*/ 0 w 152"/>
                  <a:gd name="T55" fmla="*/ 0 h 296"/>
                  <a:gd name="T56" fmla="*/ 0 w 152"/>
                  <a:gd name="T57" fmla="*/ 0 h 296"/>
                  <a:gd name="T58" fmla="*/ 0 w 152"/>
                  <a:gd name="T59" fmla="*/ 0 h 296"/>
                  <a:gd name="T60" fmla="*/ 0 w 152"/>
                  <a:gd name="T61" fmla="*/ 0 h 296"/>
                  <a:gd name="T62" fmla="*/ 0 w 152"/>
                  <a:gd name="T63" fmla="*/ 0 h 296"/>
                  <a:gd name="T64" fmla="*/ 0 w 152"/>
                  <a:gd name="T65" fmla="*/ 0 h 296"/>
                  <a:gd name="T66" fmla="*/ 0 w 152"/>
                  <a:gd name="T67" fmla="*/ 0 h 296"/>
                  <a:gd name="T68" fmla="*/ 0 w 152"/>
                  <a:gd name="T69" fmla="*/ 0 h 296"/>
                  <a:gd name="T70" fmla="*/ 0 w 152"/>
                  <a:gd name="T71" fmla="*/ 0 h 296"/>
                  <a:gd name="T72" fmla="*/ 0 w 152"/>
                  <a:gd name="T73" fmla="*/ 0 h 296"/>
                  <a:gd name="T74" fmla="*/ 0 w 152"/>
                  <a:gd name="T75" fmla="*/ 0 h 296"/>
                  <a:gd name="T76" fmla="*/ 0 w 152"/>
                  <a:gd name="T77" fmla="*/ 0 h 296"/>
                  <a:gd name="T78" fmla="*/ 0 w 152"/>
                  <a:gd name="T79" fmla="*/ 0 h 296"/>
                  <a:gd name="T80" fmla="*/ 0 w 152"/>
                  <a:gd name="T81" fmla="*/ 0 h 296"/>
                  <a:gd name="T82" fmla="*/ 0 w 152"/>
                  <a:gd name="T83" fmla="*/ 0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2"/>
                  <a:gd name="T133" fmla="*/ 0 h 296"/>
                  <a:gd name="T134" fmla="*/ 152 w 152"/>
                  <a:gd name="T135" fmla="*/ 296 h 29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38"/>
                  <a:gd name="T26" fmla="*/ 26 w 26"/>
                  <a:gd name="T27" fmla="*/ 38 h 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4"/>
                  <a:gd name="T46" fmla="*/ 0 h 31"/>
                  <a:gd name="T47" fmla="*/ 34 w 34"/>
                  <a:gd name="T48" fmla="*/ 31 h 3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37"/>
                  <a:gd name="T20" fmla="*/ 20 w 20"/>
                  <a:gd name="T21" fmla="*/ 37 h 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18"/>
                  <a:gd name="T17" fmla="*/ 13 w 13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  <a:gd name="T9" fmla="*/ 0 w 27"/>
                  <a:gd name="T10" fmla="*/ 0 h 31"/>
                  <a:gd name="T11" fmla="*/ 27 w 27"/>
                  <a:gd name="T12" fmla="*/ 31 h 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"/>
                  <a:gd name="T11" fmla="*/ 20 w 20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"/>
                  <a:gd name="T28" fmla="*/ 0 h 13"/>
                  <a:gd name="T29" fmla="*/ 34 w 34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8"/>
                  <a:gd name="T23" fmla="*/ 34 w 34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0 w 59"/>
                  <a:gd name="T1" fmla="*/ 0 h 25"/>
                  <a:gd name="T2" fmla="*/ 0 w 59"/>
                  <a:gd name="T3" fmla="*/ 0 h 25"/>
                  <a:gd name="T4" fmla="*/ 0 w 59"/>
                  <a:gd name="T5" fmla="*/ 0 h 25"/>
                  <a:gd name="T6" fmla="*/ 0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0 w 59"/>
                  <a:gd name="T27" fmla="*/ 0 h 25"/>
                  <a:gd name="T28" fmla="*/ 0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9"/>
                  <a:gd name="T46" fmla="*/ 0 h 25"/>
                  <a:gd name="T47" fmla="*/ 59 w 59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05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2147483647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47483647 w 33"/>
                <a:gd name="T23" fmla="*/ 2147483647 h 43"/>
                <a:gd name="T24" fmla="*/ 2147483647 w 33"/>
                <a:gd name="T25" fmla="*/ 2147483647 h 43"/>
                <a:gd name="T26" fmla="*/ 2147483647 w 33"/>
                <a:gd name="T27" fmla="*/ 2147483647 h 43"/>
                <a:gd name="T28" fmla="*/ 2147483647 w 33"/>
                <a:gd name="T29" fmla="*/ 2147483647 h 43"/>
                <a:gd name="T30" fmla="*/ 2147483647 w 33"/>
                <a:gd name="T31" fmla="*/ 2147483647 h 43"/>
                <a:gd name="T32" fmla="*/ 2147483647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"/>
                <a:gd name="T55" fmla="*/ 0 h 43"/>
                <a:gd name="T56" fmla="*/ 33 w 33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6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2147483647 h 92"/>
                <a:gd name="T2" fmla="*/ 2147483647 w 54"/>
                <a:gd name="T3" fmla="*/ 2147483647 h 92"/>
                <a:gd name="T4" fmla="*/ 2147483647 w 54"/>
                <a:gd name="T5" fmla="*/ 2147483647 h 92"/>
                <a:gd name="T6" fmla="*/ 2147483647 w 54"/>
                <a:gd name="T7" fmla="*/ 2147483647 h 92"/>
                <a:gd name="T8" fmla="*/ 2147483647 w 54"/>
                <a:gd name="T9" fmla="*/ 2147483647 h 92"/>
                <a:gd name="T10" fmla="*/ 2147483647 w 54"/>
                <a:gd name="T11" fmla="*/ 2147483647 h 92"/>
                <a:gd name="T12" fmla="*/ 2147483647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147483647 w 54"/>
                <a:gd name="T39" fmla="*/ 2147483647 h 92"/>
                <a:gd name="T40" fmla="*/ 2147483647 w 54"/>
                <a:gd name="T41" fmla="*/ 2147483647 h 92"/>
                <a:gd name="T42" fmla="*/ 2147483647 w 54"/>
                <a:gd name="T43" fmla="*/ 2147483647 h 92"/>
                <a:gd name="T44" fmla="*/ 2147483647 w 54"/>
                <a:gd name="T45" fmla="*/ 2147483647 h 92"/>
                <a:gd name="T46" fmla="*/ 2147483647 w 54"/>
                <a:gd name="T47" fmla="*/ 2147483647 h 92"/>
                <a:gd name="T48" fmla="*/ 2147483647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92"/>
                <a:gd name="T80" fmla="*/ 54 w 54"/>
                <a:gd name="T81" fmla="*/ 92 h 9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7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2147483647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147483647 w 60"/>
                <a:gd name="T17" fmla="*/ 2147483647 h 18"/>
                <a:gd name="T18" fmla="*/ 2147483647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0"/>
                <a:gd name="T37" fmla="*/ 0 h 18"/>
                <a:gd name="T38" fmla="*/ 60 w 6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8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147483647 w 66"/>
                <a:gd name="T13" fmla="*/ 2147483647 h 18"/>
                <a:gd name="T14" fmla="*/ 2147483647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18"/>
                <a:gd name="T29" fmla="*/ 66 w 66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9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2147483647 h 42"/>
                <a:gd name="T2" fmla="*/ 2147483647 w 17"/>
                <a:gd name="T3" fmla="*/ 2147483647 h 42"/>
                <a:gd name="T4" fmla="*/ 2147483647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2147483647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42"/>
                <a:gd name="T29" fmla="*/ 17 w 17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0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2147483647 w 72"/>
                <a:gd name="T1" fmla="*/ 2147483647 h 29"/>
                <a:gd name="T2" fmla="*/ 2147483647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2147483647 w 72"/>
                <a:gd name="T29" fmla="*/ 2147483647 h 29"/>
                <a:gd name="T30" fmla="*/ 0 w 72"/>
                <a:gd name="T31" fmla="*/ 2147483647 h 29"/>
                <a:gd name="T32" fmla="*/ 2147483647 w 72"/>
                <a:gd name="T33" fmla="*/ 2147483647 h 29"/>
                <a:gd name="T34" fmla="*/ 2147483647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29"/>
                <a:gd name="T56" fmla="*/ 72 w 72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1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2147483647 w 46"/>
                <a:gd name="T3" fmla="*/ 2147483647 h 37"/>
                <a:gd name="T4" fmla="*/ 2147483647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2147483647 w 46"/>
                <a:gd name="T17" fmla="*/ 2147483647 h 37"/>
                <a:gd name="T18" fmla="*/ 2147483647 w 46"/>
                <a:gd name="T19" fmla="*/ 2147483647 h 37"/>
                <a:gd name="T20" fmla="*/ 2147483647 w 46"/>
                <a:gd name="T21" fmla="*/ 2147483647 h 37"/>
                <a:gd name="T22" fmla="*/ 2147483647 w 46"/>
                <a:gd name="T23" fmla="*/ 2147483647 h 37"/>
                <a:gd name="T24" fmla="*/ 2147483647 w 46"/>
                <a:gd name="T25" fmla="*/ 2147483647 h 37"/>
                <a:gd name="T26" fmla="*/ 2147483647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37"/>
                <a:gd name="T47" fmla="*/ 46 w 46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2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2147483647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9"/>
                <a:gd name="T20" fmla="*/ 26 w 26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3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147483647 w 43"/>
                <a:gd name="T1" fmla="*/ 0 h 31"/>
                <a:gd name="T2" fmla="*/ 2147483647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147483647 w 43"/>
                <a:gd name="T13" fmla="*/ 2147483647 h 31"/>
                <a:gd name="T14" fmla="*/ 2147483647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147483647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3"/>
                <a:gd name="T37" fmla="*/ 0 h 31"/>
                <a:gd name="T38" fmla="*/ 43 w 4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4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2147483647 w 71"/>
                <a:gd name="T1" fmla="*/ 2147483647 h 49"/>
                <a:gd name="T2" fmla="*/ 2147483647 w 71"/>
                <a:gd name="T3" fmla="*/ 2147483647 h 49"/>
                <a:gd name="T4" fmla="*/ 2147483647 w 71"/>
                <a:gd name="T5" fmla="*/ 2147483647 h 49"/>
                <a:gd name="T6" fmla="*/ 2147483647 w 71"/>
                <a:gd name="T7" fmla="*/ 2147483647 h 49"/>
                <a:gd name="T8" fmla="*/ 2147483647 w 71"/>
                <a:gd name="T9" fmla="*/ 2147483647 h 49"/>
                <a:gd name="T10" fmla="*/ 2147483647 w 71"/>
                <a:gd name="T11" fmla="*/ 2147483647 h 49"/>
                <a:gd name="T12" fmla="*/ 2147483647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2147483647 w 71"/>
                <a:gd name="T43" fmla="*/ 2147483647 h 49"/>
                <a:gd name="T44" fmla="*/ 2147483647 w 71"/>
                <a:gd name="T45" fmla="*/ 0 h 49"/>
                <a:gd name="T46" fmla="*/ 2147483647 w 71"/>
                <a:gd name="T47" fmla="*/ 2147483647 h 49"/>
                <a:gd name="T48" fmla="*/ 2147483647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2147483647 w 71"/>
                <a:gd name="T55" fmla="*/ 2147483647 h 49"/>
                <a:gd name="T56" fmla="*/ 214748364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1"/>
                <a:gd name="T88" fmla="*/ 0 h 49"/>
                <a:gd name="T89" fmla="*/ 71 w 71"/>
                <a:gd name="T90" fmla="*/ 49 h 4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5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2147483647 w 112"/>
                <a:gd name="T35" fmla="*/ 2147483647 h 26"/>
                <a:gd name="T36" fmla="*/ 0 w 112"/>
                <a:gd name="T37" fmla="*/ 2147483647 h 26"/>
                <a:gd name="T38" fmla="*/ 2147483647 w 112"/>
                <a:gd name="T39" fmla="*/ 2147483647 h 26"/>
                <a:gd name="T40" fmla="*/ 2147483647 w 112"/>
                <a:gd name="T41" fmla="*/ 2147483647 h 26"/>
                <a:gd name="T42" fmla="*/ 2147483647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2"/>
                <a:gd name="T76" fmla="*/ 0 h 26"/>
                <a:gd name="T77" fmla="*/ 112 w 112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6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2147483647 w 41"/>
                <a:gd name="T5" fmla="*/ 2147483647 h 25"/>
                <a:gd name="T6" fmla="*/ 2147483647 w 41"/>
                <a:gd name="T7" fmla="*/ 2147483647 h 25"/>
                <a:gd name="T8" fmla="*/ 2147483647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5"/>
                <a:gd name="T23" fmla="*/ 41 w 41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7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2147483647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31"/>
                <a:gd name="T74" fmla="*/ 81 w 81"/>
                <a:gd name="T75" fmla="*/ 31 h 3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8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147483647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147483647 w 89"/>
                <a:gd name="T17" fmla="*/ 2147483647 h 49"/>
                <a:gd name="T18" fmla="*/ 2147483647 w 89"/>
                <a:gd name="T19" fmla="*/ 0 h 49"/>
                <a:gd name="T20" fmla="*/ 2147483647 w 89"/>
                <a:gd name="T21" fmla="*/ 2147483647 h 49"/>
                <a:gd name="T22" fmla="*/ 2147483647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147483647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49"/>
                <a:gd name="T50" fmla="*/ 89 w 89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9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47483647 h 46"/>
                <a:gd name="T2" fmla="*/ 2147483647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147483647 w 86"/>
                <a:gd name="T49" fmla="*/ 2147483647 h 46"/>
                <a:gd name="T50" fmla="*/ 2147483647 w 86"/>
                <a:gd name="T51" fmla="*/ 2147483647 h 46"/>
                <a:gd name="T52" fmla="*/ 2147483647 w 86"/>
                <a:gd name="T53" fmla="*/ 2147483647 h 46"/>
                <a:gd name="T54" fmla="*/ 2147483647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46"/>
                <a:gd name="T89" fmla="*/ 86 w 86"/>
                <a:gd name="T90" fmla="*/ 46 h 4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0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2147483647 w 59"/>
                <a:gd name="T19" fmla="*/ 2147483647 h 18"/>
                <a:gd name="T20" fmla="*/ 2147483647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8"/>
                <a:gd name="T38" fmla="*/ 59 w 59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1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2147483647 w 4"/>
                <a:gd name="T5" fmla="*/ 2147483647 h 19"/>
                <a:gd name="T6" fmla="*/ 2147483647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2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50"/>
                <a:gd name="T38" fmla="*/ 46 w 46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3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2147483647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80"/>
                <a:gd name="T59" fmla="*/ 66 w 66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4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147483647 w 20"/>
                <a:gd name="T1" fmla="*/ 2147483647 h 48"/>
                <a:gd name="T2" fmla="*/ 2147483647 w 20"/>
                <a:gd name="T3" fmla="*/ 2147483647 h 48"/>
                <a:gd name="T4" fmla="*/ 2147483647 w 20"/>
                <a:gd name="T5" fmla="*/ 2147483647 h 48"/>
                <a:gd name="T6" fmla="*/ 2147483647 w 20"/>
                <a:gd name="T7" fmla="*/ 2147483647 h 48"/>
                <a:gd name="T8" fmla="*/ 2147483647 w 20"/>
                <a:gd name="T9" fmla="*/ 2147483647 h 48"/>
                <a:gd name="T10" fmla="*/ 2147483647 w 20"/>
                <a:gd name="T11" fmla="*/ 2147483647 h 48"/>
                <a:gd name="T12" fmla="*/ 2147483647 w 20"/>
                <a:gd name="T13" fmla="*/ 2147483647 h 48"/>
                <a:gd name="T14" fmla="*/ 2147483647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2147483647 w 20"/>
                <a:gd name="T21" fmla="*/ 2147483647 h 48"/>
                <a:gd name="T22" fmla="*/ 2147483647 w 20"/>
                <a:gd name="T23" fmla="*/ 2147483647 h 48"/>
                <a:gd name="T24" fmla="*/ 2147483647 w 20"/>
                <a:gd name="T25" fmla="*/ 2147483647 h 48"/>
                <a:gd name="T26" fmla="*/ 2147483647 w 20"/>
                <a:gd name="T27" fmla="*/ 2147483647 h 48"/>
                <a:gd name="T28" fmla="*/ 2147483647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48"/>
                <a:gd name="T47" fmla="*/ 20 w 20"/>
                <a:gd name="T48" fmla="*/ 48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5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626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7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2147483647 w 53"/>
                <a:gd name="T1" fmla="*/ 0 h 30"/>
                <a:gd name="T2" fmla="*/ 2147483647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2147483647 w 53"/>
                <a:gd name="T21" fmla="*/ 2147483647 h 30"/>
                <a:gd name="T22" fmla="*/ 2147483647 w 53"/>
                <a:gd name="T23" fmla="*/ 2147483647 h 30"/>
                <a:gd name="T24" fmla="*/ 0 w 53"/>
                <a:gd name="T25" fmla="*/ 2147483647 h 30"/>
                <a:gd name="T26" fmla="*/ 214748364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3"/>
                <a:gd name="T43" fmla="*/ 0 h 30"/>
                <a:gd name="T44" fmla="*/ 53 w 53"/>
                <a:gd name="T45" fmla="*/ 30 h 3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8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0 h 31"/>
                <a:gd name="T12" fmla="*/ 2147483647 w 33"/>
                <a:gd name="T13" fmla="*/ 0 h 31"/>
                <a:gd name="T14" fmla="*/ 2147483647 w 33"/>
                <a:gd name="T15" fmla="*/ 0 h 31"/>
                <a:gd name="T16" fmla="*/ 2147483647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9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2147483647 w 65"/>
                <a:gd name="T1" fmla="*/ 2147483647 h 68"/>
                <a:gd name="T2" fmla="*/ 2147483647 w 65"/>
                <a:gd name="T3" fmla="*/ 2147483647 h 68"/>
                <a:gd name="T4" fmla="*/ 2147483647 w 65"/>
                <a:gd name="T5" fmla="*/ 2147483647 h 68"/>
                <a:gd name="T6" fmla="*/ 2147483647 w 65"/>
                <a:gd name="T7" fmla="*/ 2147483647 h 68"/>
                <a:gd name="T8" fmla="*/ 2147483647 w 65"/>
                <a:gd name="T9" fmla="*/ 2147483647 h 68"/>
                <a:gd name="T10" fmla="*/ 2147483647 w 65"/>
                <a:gd name="T11" fmla="*/ 2147483647 h 68"/>
                <a:gd name="T12" fmla="*/ 2147483647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147483647 w 65"/>
                <a:gd name="T21" fmla="*/ 2147483647 h 68"/>
                <a:gd name="T22" fmla="*/ 2147483647 w 65"/>
                <a:gd name="T23" fmla="*/ 2147483647 h 68"/>
                <a:gd name="T24" fmla="*/ 2147483647 w 65"/>
                <a:gd name="T25" fmla="*/ 2147483647 h 68"/>
                <a:gd name="T26" fmla="*/ 2147483647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2147483647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5"/>
                <a:gd name="T79" fmla="*/ 0 h 68"/>
                <a:gd name="T80" fmla="*/ 65 w 65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0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2147483647 w 625"/>
                <a:gd name="T71" fmla="*/ 2147483647 h 694"/>
                <a:gd name="T72" fmla="*/ 2147483647 w 625"/>
                <a:gd name="T73" fmla="*/ 2147483647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25"/>
                <a:gd name="T154" fmla="*/ 0 h 694"/>
                <a:gd name="T155" fmla="*/ 625 w 625"/>
                <a:gd name="T156" fmla="*/ 694 h 6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1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2147483647 w 585"/>
                <a:gd name="T61" fmla="*/ 2147483647 h 493"/>
                <a:gd name="T62" fmla="*/ 2147483647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2147483647 h 493"/>
                <a:gd name="T96" fmla="*/ 2147483647 w 585"/>
                <a:gd name="T97" fmla="*/ 214748364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85"/>
                <a:gd name="T148" fmla="*/ 0 h 493"/>
                <a:gd name="T149" fmla="*/ 585 w 585"/>
                <a:gd name="T150" fmla="*/ 493 h 4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2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2147483647 h 105"/>
                <a:gd name="T2" fmla="*/ 2147483647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214748364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147483647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12"/>
                <a:gd name="T73" fmla="*/ 0 h 105"/>
                <a:gd name="T74" fmla="*/ 212 w 212"/>
                <a:gd name="T75" fmla="*/ 105 h 10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3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2147483647 w 92"/>
                <a:gd name="T5" fmla="*/ 2147483647 h 166"/>
                <a:gd name="T6" fmla="*/ 2147483647 w 92"/>
                <a:gd name="T7" fmla="*/ 2147483647 h 166"/>
                <a:gd name="T8" fmla="*/ 2147483647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2147483647 h 166"/>
                <a:gd name="T86" fmla="*/ 2147483647 w 92"/>
                <a:gd name="T87" fmla="*/ 2147483647 h 166"/>
                <a:gd name="T88" fmla="*/ 2147483647 w 92"/>
                <a:gd name="T89" fmla="*/ 2147483647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2"/>
                <a:gd name="T157" fmla="*/ 0 h 166"/>
                <a:gd name="T158" fmla="*/ 92 w 92"/>
                <a:gd name="T159" fmla="*/ 166 h 16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4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5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2147483647 h 121"/>
                <a:gd name="T8" fmla="*/ 2147483647 w 193"/>
                <a:gd name="T9" fmla="*/ 2147483647 h 121"/>
                <a:gd name="T10" fmla="*/ 2147483647 w 193"/>
                <a:gd name="T11" fmla="*/ 2147483647 h 121"/>
                <a:gd name="T12" fmla="*/ 2147483647 w 193"/>
                <a:gd name="T13" fmla="*/ 2147483647 h 121"/>
                <a:gd name="T14" fmla="*/ 2147483647 w 193"/>
                <a:gd name="T15" fmla="*/ 2147483647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2147483647 w 193"/>
                <a:gd name="T55" fmla="*/ 2147483647 h 121"/>
                <a:gd name="T56" fmla="*/ 2147483647 w 193"/>
                <a:gd name="T57" fmla="*/ 2147483647 h 121"/>
                <a:gd name="T58" fmla="*/ 0 w 193"/>
                <a:gd name="T59" fmla="*/ 2147483647 h 121"/>
                <a:gd name="T60" fmla="*/ 2147483647 w 193"/>
                <a:gd name="T61" fmla="*/ 2147483647 h 121"/>
                <a:gd name="T62" fmla="*/ 2147483647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6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147483647 w 379"/>
                <a:gd name="T7" fmla="*/ 2147483647 h 437"/>
                <a:gd name="T8" fmla="*/ 2147483647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2147483647 h 437"/>
                <a:gd name="T36" fmla="*/ 2147483647 w 379"/>
                <a:gd name="T37" fmla="*/ 2147483647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437"/>
                <a:gd name="T185" fmla="*/ 379 w 379"/>
                <a:gd name="T186" fmla="*/ 437 h 4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7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2147483647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2147483647 h 184"/>
                <a:gd name="T6" fmla="*/ 2147483647 w 578"/>
                <a:gd name="T7" fmla="*/ 0 h 184"/>
                <a:gd name="T8" fmla="*/ 2147483647 w 578"/>
                <a:gd name="T9" fmla="*/ 2147483647 h 184"/>
                <a:gd name="T10" fmla="*/ 2147483647 w 578"/>
                <a:gd name="T11" fmla="*/ 2147483647 h 184"/>
                <a:gd name="T12" fmla="*/ 2147483647 w 578"/>
                <a:gd name="T13" fmla="*/ 2147483647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78"/>
                <a:gd name="T163" fmla="*/ 0 h 184"/>
                <a:gd name="T164" fmla="*/ 578 w 578"/>
                <a:gd name="T165" fmla="*/ 184 h 1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8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2147483647 w 491"/>
                <a:gd name="T51" fmla="*/ 2147483647 h 481"/>
                <a:gd name="T52" fmla="*/ 2147483647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147483647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2147483647 h 481"/>
                <a:gd name="T92" fmla="*/ 2147483647 w 491"/>
                <a:gd name="T93" fmla="*/ 2147483647 h 481"/>
                <a:gd name="T94" fmla="*/ 2147483647 w 491"/>
                <a:gd name="T95" fmla="*/ 0 h 481"/>
                <a:gd name="T96" fmla="*/ 2147483647 w 491"/>
                <a:gd name="T97" fmla="*/ 2147483647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1"/>
                <a:gd name="T163" fmla="*/ 0 h 481"/>
                <a:gd name="T164" fmla="*/ 491 w 491"/>
                <a:gd name="T165" fmla="*/ 481 h 48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9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3"/>
                <a:gd name="T79" fmla="*/ 0 h 117"/>
                <a:gd name="T80" fmla="*/ 133 w 133"/>
                <a:gd name="T81" fmla="*/ 117 h 11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0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2147483647 w 505"/>
                <a:gd name="T57" fmla="*/ 2147483647 h 339"/>
                <a:gd name="T58" fmla="*/ 2147483647 w 505"/>
                <a:gd name="T59" fmla="*/ 2147483647 h 339"/>
                <a:gd name="T60" fmla="*/ 2147483647 w 505"/>
                <a:gd name="T61" fmla="*/ 2147483647 h 339"/>
                <a:gd name="T62" fmla="*/ 2147483647 w 505"/>
                <a:gd name="T63" fmla="*/ 2147483647 h 339"/>
                <a:gd name="T64" fmla="*/ 2147483647 w 505"/>
                <a:gd name="T65" fmla="*/ 2147483647 h 339"/>
                <a:gd name="T66" fmla="*/ 2147483647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2147483647 h 339"/>
                <a:gd name="T74" fmla="*/ 2147483647 w 505"/>
                <a:gd name="T75" fmla="*/ 2147483647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339"/>
                <a:gd name="T131" fmla="*/ 505 w 505"/>
                <a:gd name="T132" fmla="*/ 339 h 33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1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2147483647 w 338"/>
                <a:gd name="T1" fmla="*/ 0 h 141"/>
                <a:gd name="T2" fmla="*/ 2147483647 w 338"/>
                <a:gd name="T3" fmla="*/ 0 h 141"/>
                <a:gd name="T4" fmla="*/ 2147483647 w 338"/>
                <a:gd name="T5" fmla="*/ 2147483647 h 141"/>
                <a:gd name="T6" fmla="*/ 2147483647 w 338"/>
                <a:gd name="T7" fmla="*/ 2147483647 h 141"/>
                <a:gd name="T8" fmla="*/ 2147483647 w 338"/>
                <a:gd name="T9" fmla="*/ 2147483647 h 141"/>
                <a:gd name="T10" fmla="*/ 2147483647 w 338"/>
                <a:gd name="T11" fmla="*/ 2147483647 h 141"/>
                <a:gd name="T12" fmla="*/ 2147483647 w 338"/>
                <a:gd name="T13" fmla="*/ 2147483647 h 141"/>
                <a:gd name="T14" fmla="*/ 2147483647 w 338"/>
                <a:gd name="T15" fmla="*/ 2147483647 h 141"/>
                <a:gd name="T16" fmla="*/ 2147483647 w 338"/>
                <a:gd name="T17" fmla="*/ 2147483647 h 141"/>
                <a:gd name="T18" fmla="*/ 2147483647 w 338"/>
                <a:gd name="T19" fmla="*/ 2147483647 h 141"/>
                <a:gd name="T20" fmla="*/ 2147483647 w 338"/>
                <a:gd name="T21" fmla="*/ 2147483647 h 141"/>
                <a:gd name="T22" fmla="*/ 2147483647 w 338"/>
                <a:gd name="T23" fmla="*/ 2147483647 h 141"/>
                <a:gd name="T24" fmla="*/ 2147483647 w 338"/>
                <a:gd name="T25" fmla="*/ 2147483647 h 141"/>
                <a:gd name="T26" fmla="*/ 2147483647 w 338"/>
                <a:gd name="T27" fmla="*/ 2147483647 h 141"/>
                <a:gd name="T28" fmla="*/ 2147483647 w 338"/>
                <a:gd name="T29" fmla="*/ 2147483647 h 141"/>
                <a:gd name="T30" fmla="*/ 2147483647 w 338"/>
                <a:gd name="T31" fmla="*/ 2147483647 h 141"/>
                <a:gd name="T32" fmla="*/ 2147483647 w 338"/>
                <a:gd name="T33" fmla="*/ 2147483647 h 141"/>
                <a:gd name="T34" fmla="*/ 2147483647 w 338"/>
                <a:gd name="T35" fmla="*/ 2147483647 h 141"/>
                <a:gd name="T36" fmla="*/ 2147483647 w 338"/>
                <a:gd name="T37" fmla="*/ 2147483647 h 141"/>
                <a:gd name="T38" fmla="*/ 2147483647 w 338"/>
                <a:gd name="T39" fmla="*/ 2147483647 h 141"/>
                <a:gd name="T40" fmla="*/ 2147483647 w 338"/>
                <a:gd name="T41" fmla="*/ 2147483647 h 141"/>
                <a:gd name="T42" fmla="*/ 0 w 338"/>
                <a:gd name="T43" fmla="*/ 2147483647 h 141"/>
                <a:gd name="T44" fmla="*/ 2147483647 w 338"/>
                <a:gd name="T45" fmla="*/ 2147483647 h 141"/>
                <a:gd name="T46" fmla="*/ 2147483647 w 338"/>
                <a:gd name="T47" fmla="*/ 2147483647 h 141"/>
                <a:gd name="T48" fmla="*/ 2147483647 w 338"/>
                <a:gd name="T49" fmla="*/ 2147483647 h 141"/>
                <a:gd name="T50" fmla="*/ 2147483647 w 338"/>
                <a:gd name="T51" fmla="*/ 2147483647 h 141"/>
                <a:gd name="T52" fmla="*/ 2147483647 w 338"/>
                <a:gd name="T53" fmla="*/ 2147483647 h 141"/>
                <a:gd name="T54" fmla="*/ 2147483647 w 338"/>
                <a:gd name="T55" fmla="*/ 2147483647 h 141"/>
                <a:gd name="T56" fmla="*/ 2147483647 w 338"/>
                <a:gd name="T57" fmla="*/ 2147483647 h 141"/>
                <a:gd name="T58" fmla="*/ 2147483647 w 338"/>
                <a:gd name="T59" fmla="*/ 2147483647 h 141"/>
                <a:gd name="T60" fmla="*/ 2147483647 w 338"/>
                <a:gd name="T61" fmla="*/ 2147483647 h 141"/>
                <a:gd name="T62" fmla="*/ 2147483647 w 338"/>
                <a:gd name="T63" fmla="*/ 2147483647 h 141"/>
                <a:gd name="T64" fmla="*/ 2147483647 w 338"/>
                <a:gd name="T65" fmla="*/ 2147483647 h 141"/>
                <a:gd name="T66" fmla="*/ 2147483647 w 338"/>
                <a:gd name="T67" fmla="*/ 2147483647 h 141"/>
                <a:gd name="T68" fmla="*/ 2147483647 w 338"/>
                <a:gd name="T69" fmla="*/ 2147483647 h 141"/>
                <a:gd name="T70" fmla="*/ 2147483647 w 338"/>
                <a:gd name="T71" fmla="*/ 2147483647 h 141"/>
                <a:gd name="T72" fmla="*/ 2147483647 w 338"/>
                <a:gd name="T73" fmla="*/ 2147483647 h 141"/>
                <a:gd name="T74" fmla="*/ 2147483647 w 338"/>
                <a:gd name="T75" fmla="*/ 2147483647 h 141"/>
                <a:gd name="T76" fmla="*/ 2147483647 w 338"/>
                <a:gd name="T77" fmla="*/ 2147483647 h 141"/>
                <a:gd name="T78" fmla="*/ 2147483647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8"/>
                <a:gd name="T121" fmla="*/ 0 h 141"/>
                <a:gd name="T122" fmla="*/ 338 w 338"/>
                <a:gd name="T123" fmla="*/ 141 h 14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2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59"/>
                <a:gd name="T178" fmla="*/ 0 h 129"/>
                <a:gd name="T179" fmla="*/ 259 w 25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3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2147483647 w 425"/>
                <a:gd name="T33" fmla="*/ 2147483647 h 272"/>
                <a:gd name="T34" fmla="*/ 2147483647 w 425"/>
                <a:gd name="T35" fmla="*/ 2147483647 h 272"/>
                <a:gd name="T36" fmla="*/ 2147483647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2147483647 h 272"/>
                <a:gd name="T48" fmla="*/ 2147483647 w 425"/>
                <a:gd name="T49" fmla="*/ 2147483647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2147483647 h 272"/>
                <a:gd name="T62" fmla="*/ 2147483647 w 425"/>
                <a:gd name="T63" fmla="*/ 2147483647 h 272"/>
                <a:gd name="T64" fmla="*/ 2147483647 w 425"/>
                <a:gd name="T65" fmla="*/ 2147483647 h 272"/>
                <a:gd name="T66" fmla="*/ 2147483647 w 425"/>
                <a:gd name="T67" fmla="*/ 0 h 272"/>
                <a:gd name="T68" fmla="*/ 2147483647 w 425"/>
                <a:gd name="T69" fmla="*/ 2147483647 h 272"/>
                <a:gd name="T70" fmla="*/ 2147483647 w 425"/>
                <a:gd name="T71" fmla="*/ 2147483647 h 272"/>
                <a:gd name="T72" fmla="*/ 2147483647 w 425"/>
                <a:gd name="T73" fmla="*/ 2147483647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25"/>
                <a:gd name="T142" fmla="*/ 0 h 272"/>
                <a:gd name="T143" fmla="*/ 425 w 425"/>
                <a:gd name="T144" fmla="*/ 272 h 27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4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5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2"/>
                <a:gd name="T85" fmla="*/ 0 h 154"/>
                <a:gd name="T86" fmla="*/ 192 w 192"/>
                <a:gd name="T87" fmla="*/ 154 h 1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6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7"/>
                <a:gd name="T181" fmla="*/ 0 h 469"/>
                <a:gd name="T182" fmla="*/ 877 w 877"/>
                <a:gd name="T183" fmla="*/ 469 h 4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7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7"/>
                <a:gd name="T73" fmla="*/ 0 h 123"/>
                <a:gd name="T74" fmla="*/ 107 w 107"/>
                <a:gd name="T75" fmla="*/ 123 h 1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8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234"/>
                <a:gd name="T134" fmla="*/ 471 w 471"/>
                <a:gd name="T135" fmla="*/ 234 h 2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9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25"/>
                <a:gd name="T97" fmla="*/ 0 h 241"/>
                <a:gd name="T98" fmla="*/ 525 w 525"/>
                <a:gd name="T99" fmla="*/ 241 h 2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0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430"/>
                <a:gd name="T167" fmla="*/ 784 w 784"/>
                <a:gd name="T168" fmla="*/ 430 h 4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1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2147483647 h 284"/>
                <a:gd name="T8" fmla="*/ 2147483647 w 246"/>
                <a:gd name="T9" fmla="*/ 214748364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147483647 w 246"/>
                <a:gd name="T77" fmla="*/ 2147483647 h 284"/>
                <a:gd name="T78" fmla="*/ 2147483647 w 246"/>
                <a:gd name="T79" fmla="*/ 2147483647 h 284"/>
                <a:gd name="T80" fmla="*/ 0 w 246"/>
                <a:gd name="T81" fmla="*/ 2147483647 h 284"/>
                <a:gd name="T82" fmla="*/ 2147483647 w 246"/>
                <a:gd name="T83" fmla="*/ 2147483647 h 284"/>
                <a:gd name="T84" fmla="*/ 2147483647 w 246"/>
                <a:gd name="T85" fmla="*/ 2147483647 h 284"/>
                <a:gd name="T86" fmla="*/ 214748364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6"/>
                <a:gd name="T142" fmla="*/ 0 h 284"/>
                <a:gd name="T143" fmla="*/ 246 w 246"/>
                <a:gd name="T144" fmla="*/ 284 h 28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2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17"/>
                <a:gd name="T101" fmla="*/ 160 w 160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3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4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5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97"/>
                <a:gd name="T89" fmla="*/ 86 w 86"/>
                <a:gd name="T90" fmla="*/ 97 h 9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54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895" y="3172827"/>
              <a:ext cx="362932" cy="376353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5"/>
                <a:gd name="T178" fmla="*/ 0 h 720"/>
                <a:gd name="T179" fmla="*/ 845 w 845"/>
                <a:gd name="T180" fmla="*/ 720 h 7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657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658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6"/>
                <a:gd name="T17" fmla="*/ 33 w 3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9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  <a:gd name="T9" fmla="*/ 0 w 13"/>
                <a:gd name="T10" fmla="*/ 0 h 30"/>
                <a:gd name="T11" fmla="*/ 13 w 13"/>
                <a:gd name="T12" fmla="*/ 30 h 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60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15892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0 w 352"/>
                  <a:gd name="T1" fmla="*/ 0 h 387"/>
                  <a:gd name="T2" fmla="*/ 0 w 352"/>
                  <a:gd name="T3" fmla="*/ 0 h 387"/>
                  <a:gd name="T4" fmla="*/ 0 w 352"/>
                  <a:gd name="T5" fmla="*/ 0 h 387"/>
                  <a:gd name="T6" fmla="*/ 0 w 352"/>
                  <a:gd name="T7" fmla="*/ 0 h 387"/>
                  <a:gd name="T8" fmla="*/ 0 w 352"/>
                  <a:gd name="T9" fmla="*/ 0 h 387"/>
                  <a:gd name="T10" fmla="*/ 0 w 352"/>
                  <a:gd name="T11" fmla="*/ 0 h 387"/>
                  <a:gd name="T12" fmla="*/ 0 w 352"/>
                  <a:gd name="T13" fmla="*/ 0 h 387"/>
                  <a:gd name="T14" fmla="*/ 0 w 352"/>
                  <a:gd name="T15" fmla="*/ 0 h 387"/>
                  <a:gd name="T16" fmla="*/ 0 w 352"/>
                  <a:gd name="T17" fmla="*/ 0 h 387"/>
                  <a:gd name="T18" fmla="*/ 0 w 352"/>
                  <a:gd name="T19" fmla="*/ 0 h 387"/>
                  <a:gd name="T20" fmla="*/ 0 w 352"/>
                  <a:gd name="T21" fmla="*/ 0 h 387"/>
                  <a:gd name="T22" fmla="*/ 0 w 352"/>
                  <a:gd name="T23" fmla="*/ 0 h 387"/>
                  <a:gd name="T24" fmla="*/ 0 w 352"/>
                  <a:gd name="T25" fmla="*/ 0 h 387"/>
                  <a:gd name="T26" fmla="*/ 0 w 352"/>
                  <a:gd name="T27" fmla="*/ 0 h 387"/>
                  <a:gd name="T28" fmla="*/ 0 w 352"/>
                  <a:gd name="T29" fmla="*/ 0 h 387"/>
                  <a:gd name="T30" fmla="*/ 0 w 352"/>
                  <a:gd name="T31" fmla="*/ 0 h 387"/>
                  <a:gd name="T32" fmla="*/ 0 w 352"/>
                  <a:gd name="T33" fmla="*/ 0 h 387"/>
                  <a:gd name="T34" fmla="*/ 0 w 352"/>
                  <a:gd name="T35" fmla="*/ 0 h 387"/>
                  <a:gd name="T36" fmla="*/ 0 w 352"/>
                  <a:gd name="T37" fmla="*/ 0 h 387"/>
                  <a:gd name="T38" fmla="*/ 0 w 352"/>
                  <a:gd name="T39" fmla="*/ 0 h 387"/>
                  <a:gd name="T40" fmla="*/ 0 w 352"/>
                  <a:gd name="T41" fmla="*/ 0 h 387"/>
                  <a:gd name="T42" fmla="*/ 0 w 352"/>
                  <a:gd name="T43" fmla="*/ 0 h 387"/>
                  <a:gd name="T44" fmla="*/ 0 w 352"/>
                  <a:gd name="T45" fmla="*/ 0 h 387"/>
                  <a:gd name="T46" fmla="*/ 0 w 352"/>
                  <a:gd name="T47" fmla="*/ 0 h 387"/>
                  <a:gd name="T48" fmla="*/ 0 w 352"/>
                  <a:gd name="T49" fmla="*/ 0 h 387"/>
                  <a:gd name="T50" fmla="*/ 0 w 352"/>
                  <a:gd name="T51" fmla="*/ 0 h 387"/>
                  <a:gd name="T52" fmla="*/ 0 w 352"/>
                  <a:gd name="T53" fmla="*/ 0 h 387"/>
                  <a:gd name="T54" fmla="*/ 0 w 352"/>
                  <a:gd name="T55" fmla="*/ 0 h 387"/>
                  <a:gd name="T56" fmla="*/ 0 w 352"/>
                  <a:gd name="T57" fmla="*/ 0 h 387"/>
                  <a:gd name="T58" fmla="*/ 0 w 352"/>
                  <a:gd name="T59" fmla="*/ 0 h 387"/>
                  <a:gd name="T60" fmla="*/ 0 w 352"/>
                  <a:gd name="T61" fmla="*/ 0 h 387"/>
                  <a:gd name="T62" fmla="*/ 0 w 352"/>
                  <a:gd name="T63" fmla="*/ 0 h 387"/>
                  <a:gd name="T64" fmla="*/ 0 w 352"/>
                  <a:gd name="T65" fmla="*/ 0 h 387"/>
                  <a:gd name="T66" fmla="*/ 0 w 352"/>
                  <a:gd name="T67" fmla="*/ 0 h 387"/>
                  <a:gd name="T68" fmla="*/ 0 w 352"/>
                  <a:gd name="T69" fmla="*/ 0 h 387"/>
                  <a:gd name="T70" fmla="*/ 0 w 352"/>
                  <a:gd name="T71" fmla="*/ 0 h 387"/>
                  <a:gd name="T72" fmla="*/ 0 w 352"/>
                  <a:gd name="T73" fmla="*/ 0 h 387"/>
                  <a:gd name="T74" fmla="*/ 0 w 352"/>
                  <a:gd name="T75" fmla="*/ 0 h 387"/>
                  <a:gd name="T76" fmla="*/ 0 w 352"/>
                  <a:gd name="T77" fmla="*/ 0 h 387"/>
                  <a:gd name="T78" fmla="*/ 0 w 352"/>
                  <a:gd name="T79" fmla="*/ 0 h 387"/>
                  <a:gd name="T80" fmla="*/ 0 w 352"/>
                  <a:gd name="T81" fmla="*/ 0 h 387"/>
                  <a:gd name="T82" fmla="*/ 0 w 352"/>
                  <a:gd name="T83" fmla="*/ 0 h 387"/>
                  <a:gd name="T84" fmla="*/ 0 w 352"/>
                  <a:gd name="T85" fmla="*/ 0 h 387"/>
                  <a:gd name="T86" fmla="*/ 0 w 352"/>
                  <a:gd name="T87" fmla="*/ 0 h 387"/>
                  <a:gd name="T88" fmla="*/ 0 w 352"/>
                  <a:gd name="T89" fmla="*/ 0 h 387"/>
                  <a:gd name="T90" fmla="*/ 0 w 352"/>
                  <a:gd name="T91" fmla="*/ 0 h 387"/>
                  <a:gd name="T92" fmla="*/ 0 w 352"/>
                  <a:gd name="T93" fmla="*/ 0 h 387"/>
                  <a:gd name="T94" fmla="*/ 0 w 352"/>
                  <a:gd name="T95" fmla="*/ 0 h 387"/>
                  <a:gd name="T96" fmla="*/ 0 w 352"/>
                  <a:gd name="T97" fmla="*/ 0 h 387"/>
                  <a:gd name="T98" fmla="*/ 0 w 352"/>
                  <a:gd name="T99" fmla="*/ 0 h 387"/>
                  <a:gd name="T100" fmla="*/ 0 w 352"/>
                  <a:gd name="T101" fmla="*/ 0 h 387"/>
                  <a:gd name="T102" fmla="*/ 0 w 352"/>
                  <a:gd name="T103" fmla="*/ 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52"/>
                  <a:gd name="T157" fmla="*/ 0 h 387"/>
                  <a:gd name="T158" fmla="*/ 352 w 352"/>
                  <a:gd name="T159" fmla="*/ 387 h 38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149C48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3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0 w 52"/>
                  <a:gd name="T1" fmla="*/ 0 h 78"/>
                  <a:gd name="T2" fmla="*/ 0 w 52"/>
                  <a:gd name="T3" fmla="*/ 0 h 78"/>
                  <a:gd name="T4" fmla="*/ 0 w 52"/>
                  <a:gd name="T5" fmla="*/ 0 h 78"/>
                  <a:gd name="T6" fmla="*/ 0 w 52"/>
                  <a:gd name="T7" fmla="*/ 0 h 78"/>
                  <a:gd name="T8" fmla="*/ 0 w 52"/>
                  <a:gd name="T9" fmla="*/ 0 h 78"/>
                  <a:gd name="T10" fmla="*/ 0 w 52"/>
                  <a:gd name="T11" fmla="*/ 0 h 78"/>
                  <a:gd name="T12" fmla="*/ 0 w 52"/>
                  <a:gd name="T13" fmla="*/ 0 h 78"/>
                  <a:gd name="T14" fmla="*/ 0 w 52"/>
                  <a:gd name="T15" fmla="*/ 0 h 78"/>
                  <a:gd name="T16" fmla="*/ 0 w 52"/>
                  <a:gd name="T17" fmla="*/ 0 h 78"/>
                  <a:gd name="T18" fmla="*/ 0 w 52"/>
                  <a:gd name="T19" fmla="*/ 0 h 78"/>
                  <a:gd name="T20" fmla="*/ 0 w 52"/>
                  <a:gd name="T21" fmla="*/ 0 h 78"/>
                  <a:gd name="T22" fmla="*/ 0 w 52"/>
                  <a:gd name="T23" fmla="*/ 0 h 78"/>
                  <a:gd name="T24" fmla="*/ 0 w 52"/>
                  <a:gd name="T25" fmla="*/ 0 h 78"/>
                  <a:gd name="T26" fmla="*/ 0 w 52"/>
                  <a:gd name="T27" fmla="*/ 0 h 78"/>
                  <a:gd name="T28" fmla="*/ 0 w 52"/>
                  <a:gd name="T29" fmla="*/ 0 h 78"/>
                  <a:gd name="T30" fmla="*/ 0 w 52"/>
                  <a:gd name="T31" fmla="*/ 0 h 78"/>
                  <a:gd name="T32" fmla="*/ 0 w 52"/>
                  <a:gd name="T33" fmla="*/ 0 h 78"/>
                  <a:gd name="T34" fmla="*/ 0 w 52"/>
                  <a:gd name="T35" fmla="*/ 0 h 78"/>
                  <a:gd name="T36" fmla="*/ 0 w 52"/>
                  <a:gd name="T37" fmla="*/ 0 h 78"/>
                  <a:gd name="T38" fmla="*/ 0 w 52"/>
                  <a:gd name="T39" fmla="*/ 0 h 78"/>
                  <a:gd name="T40" fmla="*/ 0 w 52"/>
                  <a:gd name="T41" fmla="*/ 0 h 78"/>
                  <a:gd name="T42" fmla="*/ 0 w 52"/>
                  <a:gd name="T43" fmla="*/ 0 h 78"/>
                  <a:gd name="T44" fmla="*/ 0 w 52"/>
                  <a:gd name="T45" fmla="*/ 0 h 78"/>
                  <a:gd name="T46" fmla="*/ 0 w 52"/>
                  <a:gd name="T47" fmla="*/ 0 h 78"/>
                  <a:gd name="T48" fmla="*/ 0 w 52"/>
                  <a:gd name="T49" fmla="*/ 0 h 78"/>
                  <a:gd name="T50" fmla="*/ 0 w 52"/>
                  <a:gd name="T51" fmla="*/ 0 h 78"/>
                  <a:gd name="T52" fmla="*/ 0 w 52"/>
                  <a:gd name="T53" fmla="*/ 0 h 78"/>
                  <a:gd name="T54" fmla="*/ 0 w 52"/>
                  <a:gd name="T55" fmla="*/ 0 h 78"/>
                  <a:gd name="T56" fmla="*/ 0 w 52"/>
                  <a:gd name="T57" fmla="*/ 0 h 78"/>
                  <a:gd name="T58" fmla="*/ 0 w 52"/>
                  <a:gd name="T59" fmla="*/ 0 h 78"/>
                  <a:gd name="T60" fmla="*/ 0 w 52"/>
                  <a:gd name="T61" fmla="*/ 0 h 78"/>
                  <a:gd name="T62" fmla="*/ 0 w 52"/>
                  <a:gd name="T63" fmla="*/ 0 h 78"/>
                  <a:gd name="T64" fmla="*/ 0 w 52"/>
                  <a:gd name="T65" fmla="*/ 0 h 78"/>
                  <a:gd name="T66" fmla="*/ 0 w 52"/>
                  <a:gd name="T67" fmla="*/ 0 h 78"/>
                  <a:gd name="T68" fmla="*/ 0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"/>
                  <a:gd name="T106" fmla="*/ 0 h 78"/>
                  <a:gd name="T107" fmla="*/ 52 w 52"/>
                  <a:gd name="T108" fmla="*/ 78 h 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4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0 h 30"/>
                  <a:gd name="T4" fmla="*/ 0 w 33"/>
                  <a:gd name="T5" fmla="*/ 0 h 30"/>
                  <a:gd name="T6" fmla="*/ 0 w 33"/>
                  <a:gd name="T7" fmla="*/ 0 h 30"/>
                  <a:gd name="T8" fmla="*/ 0 w 33"/>
                  <a:gd name="T9" fmla="*/ 0 h 30"/>
                  <a:gd name="T10" fmla="*/ 0 w 33"/>
                  <a:gd name="T11" fmla="*/ 0 h 30"/>
                  <a:gd name="T12" fmla="*/ 0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30"/>
                  <a:gd name="T29" fmla="*/ 33 w 33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61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28"/>
                <a:gd name="T71" fmla="*/ 47 w 47"/>
                <a:gd name="T72" fmla="*/ 28 h 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62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3"/>
                <a:gd name="T76" fmla="*/ 0 h 33"/>
                <a:gd name="T77" fmla="*/ 53 w 53"/>
                <a:gd name="T78" fmla="*/ 33 h 3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63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15881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8"/>
                  <a:gd name="T23" fmla="*/ 13 w 13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2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3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19"/>
                  <a:gd name="T11" fmla="*/ 14 w 14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4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8"/>
                  <a:gd name="T17" fmla="*/ 7 w 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5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2"/>
                  <a:gd name="T23" fmla="*/ 20 w 2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6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7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8"/>
                  <a:gd name="T11" fmla="*/ 20 w 20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8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12"/>
                  <a:gd name="T11" fmla="*/ 7 w 7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9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18"/>
                  <a:gd name="T20" fmla="*/ 20 w 2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0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8"/>
                  <a:gd name="T20" fmla="*/ 7 w 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1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18"/>
                  <a:gd name="T29" fmla="*/ 13 w 13"/>
                  <a:gd name="T30" fmla="*/ 18 h 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64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6"/>
                <a:gd name="T148" fmla="*/ 0 h 721"/>
                <a:gd name="T149" fmla="*/ 736 w 736"/>
                <a:gd name="T150" fmla="*/ 721 h 72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65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30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688" y="4367747"/>
              <a:ext cx="396537" cy="397859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15667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68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15875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0 w 51"/>
                  <a:gd name="T1" fmla="*/ 0 h 33"/>
                  <a:gd name="T2" fmla="*/ 0 w 51"/>
                  <a:gd name="T3" fmla="*/ 0 h 33"/>
                  <a:gd name="T4" fmla="*/ 0 w 51"/>
                  <a:gd name="T5" fmla="*/ 0 h 33"/>
                  <a:gd name="T6" fmla="*/ 0 w 51"/>
                  <a:gd name="T7" fmla="*/ 0 h 33"/>
                  <a:gd name="T8" fmla="*/ 0 w 51"/>
                  <a:gd name="T9" fmla="*/ 0 h 33"/>
                  <a:gd name="T10" fmla="*/ 0 w 51"/>
                  <a:gd name="T11" fmla="*/ 0 h 33"/>
                  <a:gd name="T12" fmla="*/ 0 w 51"/>
                  <a:gd name="T13" fmla="*/ 0 h 33"/>
                  <a:gd name="T14" fmla="*/ 0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1"/>
                  <a:gd name="T25" fmla="*/ 0 h 33"/>
                  <a:gd name="T26" fmla="*/ 51 w 51"/>
                  <a:gd name="T27" fmla="*/ 33 h 3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6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0 w 61"/>
                  <a:gd name="T1" fmla="*/ 0 h 20"/>
                  <a:gd name="T2" fmla="*/ 0 w 61"/>
                  <a:gd name="T3" fmla="*/ 0 h 20"/>
                  <a:gd name="T4" fmla="*/ 0 w 61"/>
                  <a:gd name="T5" fmla="*/ 0 h 20"/>
                  <a:gd name="T6" fmla="*/ 0 w 61"/>
                  <a:gd name="T7" fmla="*/ 0 h 20"/>
                  <a:gd name="T8" fmla="*/ 0 w 61"/>
                  <a:gd name="T9" fmla="*/ 0 h 20"/>
                  <a:gd name="T10" fmla="*/ 0 w 61"/>
                  <a:gd name="T11" fmla="*/ 0 h 20"/>
                  <a:gd name="T12" fmla="*/ 0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1"/>
                  <a:gd name="T22" fmla="*/ 0 h 20"/>
                  <a:gd name="T23" fmla="*/ 61 w 61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7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0 h 36"/>
                  <a:gd name="T4" fmla="*/ 0 w 15"/>
                  <a:gd name="T5" fmla="*/ 0 h 36"/>
                  <a:gd name="T6" fmla="*/ 0 w 15"/>
                  <a:gd name="T7" fmla="*/ 0 h 36"/>
                  <a:gd name="T8" fmla="*/ 0 w 15"/>
                  <a:gd name="T9" fmla="*/ 0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36"/>
                  <a:gd name="T20" fmla="*/ 15 w 15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8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0 w 37"/>
                  <a:gd name="T3" fmla="*/ 0 h 33"/>
                  <a:gd name="T4" fmla="*/ 0 w 37"/>
                  <a:gd name="T5" fmla="*/ 0 h 33"/>
                  <a:gd name="T6" fmla="*/ 0 w 37"/>
                  <a:gd name="T7" fmla="*/ 0 h 33"/>
                  <a:gd name="T8" fmla="*/ 0 w 37"/>
                  <a:gd name="T9" fmla="*/ 0 h 33"/>
                  <a:gd name="T10" fmla="*/ 0 w 37"/>
                  <a:gd name="T11" fmla="*/ 0 h 33"/>
                  <a:gd name="T12" fmla="*/ 0 w 37"/>
                  <a:gd name="T13" fmla="*/ 0 h 33"/>
                  <a:gd name="T14" fmla="*/ 0 w 37"/>
                  <a:gd name="T15" fmla="*/ 0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7"/>
                  <a:gd name="T28" fmla="*/ 0 h 33"/>
                  <a:gd name="T29" fmla="*/ 37 w 37"/>
                  <a:gd name="T30" fmla="*/ 33 h 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9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0 h 54"/>
                  <a:gd name="T6" fmla="*/ 0 w 49"/>
                  <a:gd name="T7" fmla="*/ 0 h 54"/>
                  <a:gd name="T8" fmla="*/ 0 w 49"/>
                  <a:gd name="T9" fmla="*/ 0 h 54"/>
                  <a:gd name="T10" fmla="*/ 0 w 49"/>
                  <a:gd name="T11" fmla="*/ 0 h 54"/>
                  <a:gd name="T12" fmla="*/ 0 w 49"/>
                  <a:gd name="T13" fmla="*/ 0 h 54"/>
                  <a:gd name="T14" fmla="*/ 0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9"/>
                  <a:gd name="T28" fmla="*/ 0 h 54"/>
                  <a:gd name="T29" fmla="*/ 49 w 49"/>
                  <a:gd name="T30" fmla="*/ 54 h 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0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0 w 26"/>
                  <a:gd name="T1" fmla="*/ 0 h 22"/>
                  <a:gd name="T2" fmla="*/ 0 w 26"/>
                  <a:gd name="T3" fmla="*/ 0 h 22"/>
                  <a:gd name="T4" fmla="*/ 0 w 26"/>
                  <a:gd name="T5" fmla="*/ 0 h 22"/>
                  <a:gd name="T6" fmla="*/ 0 w 26"/>
                  <a:gd name="T7" fmla="*/ 0 h 22"/>
                  <a:gd name="T8" fmla="*/ 0 w 26"/>
                  <a:gd name="T9" fmla="*/ 0 h 22"/>
                  <a:gd name="T10" fmla="*/ 0 w 26"/>
                  <a:gd name="T11" fmla="*/ 0 h 22"/>
                  <a:gd name="T12" fmla="*/ 0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22"/>
                  <a:gd name="T23" fmla="*/ 26 w 26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5669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</p:grpSpPr>
          <p:sp>
            <p:nvSpPr>
              <p:cNvPr id="15833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0 h 54"/>
                  <a:gd name="T2" fmla="*/ 0 w 98"/>
                  <a:gd name="T3" fmla="*/ 0 h 54"/>
                  <a:gd name="T4" fmla="*/ 0 w 98"/>
                  <a:gd name="T5" fmla="*/ 0 h 54"/>
                  <a:gd name="T6" fmla="*/ 0 w 98"/>
                  <a:gd name="T7" fmla="*/ 0 h 54"/>
                  <a:gd name="T8" fmla="*/ 0 w 98"/>
                  <a:gd name="T9" fmla="*/ 0 h 54"/>
                  <a:gd name="T10" fmla="*/ 0 w 98"/>
                  <a:gd name="T11" fmla="*/ 0 h 54"/>
                  <a:gd name="T12" fmla="*/ 0 w 98"/>
                  <a:gd name="T13" fmla="*/ 0 h 54"/>
                  <a:gd name="T14" fmla="*/ 0 w 98"/>
                  <a:gd name="T15" fmla="*/ 0 h 54"/>
                  <a:gd name="T16" fmla="*/ 0 w 98"/>
                  <a:gd name="T17" fmla="*/ 0 h 54"/>
                  <a:gd name="T18" fmla="*/ 0 w 98"/>
                  <a:gd name="T19" fmla="*/ 0 h 54"/>
                  <a:gd name="T20" fmla="*/ 0 w 98"/>
                  <a:gd name="T21" fmla="*/ 0 h 54"/>
                  <a:gd name="T22" fmla="*/ 0 w 98"/>
                  <a:gd name="T23" fmla="*/ 0 h 54"/>
                  <a:gd name="T24" fmla="*/ 0 w 98"/>
                  <a:gd name="T25" fmla="*/ 0 h 54"/>
                  <a:gd name="T26" fmla="*/ 0 w 98"/>
                  <a:gd name="T27" fmla="*/ 0 h 54"/>
                  <a:gd name="T28" fmla="*/ 0 w 98"/>
                  <a:gd name="T29" fmla="*/ 0 h 54"/>
                  <a:gd name="T30" fmla="*/ 0 w 98"/>
                  <a:gd name="T31" fmla="*/ 0 h 54"/>
                  <a:gd name="T32" fmla="*/ 0 w 98"/>
                  <a:gd name="T33" fmla="*/ 0 h 54"/>
                  <a:gd name="T34" fmla="*/ 0 w 98"/>
                  <a:gd name="T35" fmla="*/ 0 h 54"/>
                  <a:gd name="T36" fmla="*/ 0 w 98"/>
                  <a:gd name="T37" fmla="*/ 0 h 54"/>
                  <a:gd name="T38" fmla="*/ 0 w 98"/>
                  <a:gd name="T39" fmla="*/ 0 h 54"/>
                  <a:gd name="T40" fmla="*/ 0 w 98"/>
                  <a:gd name="T41" fmla="*/ 0 h 54"/>
                  <a:gd name="T42" fmla="*/ 0 w 98"/>
                  <a:gd name="T43" fmla="*/ 0 h 54"/>
                  <a:gd name="T44" fmla="*/ 0 w 98"/>
                  <a:gd name="T45" fmla="*/ 0 h 54"/>
                  <a:gd name="T46" fmla="*/ 0 w 98"/>
                  <a:gd name="T47" fmla="*/ 0 h 54"/>
                  <a:gd name="T48" fmla="*/ 0 w 98"/>
                  <a:gd name="T49" fmla="*/ 0 h 54"/>
                  <a:gd name="T50" fmla="*/ 0 w 98"/>
                  <a:gd name="T51" fmla="*/ 0 h 54"/>
                  <a:gd name="T52" fmla="*/ 0 w 98"/>
                  <a:gd name="T53" fmla="*/ 0 h 54"/>
                  <a:gd name="T54" fmla="*/ 0 w 98"/>
                  <a:gd name="T55" fmla="*/ 0 h 54"/>
                  <a:gd name="T56" fmla="*/ 0 w 98"/>
                  <a:gd name="T57" fmla="*/ 0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98"/>
                  <a:gd name="T88" fmla="*/ 0 h 54"/>
                  <a:gd name="T89" fmla="*/ 98 w 98"/>
                  <a:gd name="T90" fmla="*/ 54 h 5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4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0 h 28"/>
                  <a:gd name="T2" fmla="*/ 0 w 67"/>
                  <a:gd name="T3" fmla="*/ 0 h 28"/>
                  <a:gd name="T4" fmla="*/ 0 w 67"/>
                  <a:gd name="T5" fmla="*/ 0 h 28"/>
                  <a:gd name="T6" fmla="*/ 0 w 67"/>
                  <a:gd name="T7" fmla="*/ 0 h 28"/>
                  <a:gd name="T8" fmla="*/ 0 w 67"/>
                  <a:gd name="T9" fmla="*/ 0 h 28"/>
                  <a:gd name="T10" fmla="*/ 0 w 67"/>
                  <a:gd name="T11" fmla="*/ 0 h 28"/>
                  <a:gd name="T12" fmla="*/ 0 w 67"/>
                  <a:gd name="T13" fmla="*/ 0 h 28"/>
                  <a:gd name="T14" fmla="*/ 0 w 67"/>
                  <a:gd name="T15" fmla="*/ 0 h 28"/>
                  <a:gd name="T16" fmla="*/ 0 w 67"/>
                  <a:gd name="T17" fmla="*/ 0 h 28"/>
                  <a:gd name="T18" fmla="*/ 0 w 67"/>
                  <a:gd name="T19" fmla="*/ 0 h 28"/>
                  <a:gd name="T20" fmla="*/ 0 w 67"/>
                  <a:gd name="T21" fmla="*/ 0 h 28"/>
                  <a:gd name="T22" fmla="*/ 0 w 67"/>
                  <a:gd name="T23" fmla="*/ 0 h 28"/>
                  <a:gd name="T24" fmla="*/ 0 w 67"/>
                  <a:gd name="T25" fmla="*/ 0 h 28"/>
                  <a:gd name="T26" fmla="*/ 0 w 67"/>
                  <a:gd name="T27" fmla="*/ 0 h 28"/>
                  <a:gd name="T28" fmla="*/ 0 w 67"/>
                  <a:gd name="T29" fmla="*/ 0 h 28"/>
                  <a:gd name="T30" fmla="*/ 0 w 67"/>
                  <a:gd name="T31" fmla="*/ 0 h 28"/>
                  <a:gd name="T32" fmla="*/ 0 w 67"/>
                  <a:gd name="T33" fmla="*/ 0 h 28"/>
                  <a:gd name="T34" fmla="*/ 0 w 67"/>
                  <a:gd name="T35" fmla="*/ 0 h 28"/>
                  <a:gd name="T36" fmla="*/ 0 w 67"/>
                  <a:gd name="T37" fmla="*/ 0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7"/>
                  <a:gd name="T58" fmla="*/ 0 h 28"/>
                  <a:gd name="T59" fmla="*/ 67 w 67"/>
                  <a:gd name="T60" fmla="*/ 28 h 2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5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0 h 36"/>
                  <a:gd name="T2" fmla="*/ 0 w 32"/>
                  <a:gd name="T3" fmla="*/ 0 h 36"/>
                  <a:gd name="T4" fmla="*/ 0 w 32"/>
                  <a:gd name="T5" fmla="*/ 0 h 36"/>
                  <a:gd name="T6" fmla="*/ 0 w 32"/>
                  <a:gd name="T7" fmla="*/ 0 h 36"/>
                  <a:gd name="T8" fmla="*/ 0 w 32"/>
                  <a:gd name="T9" fmla="*/ 0 h 36"/>
                  <a:gd name="T10" fmla="*/ 0 w 32"/>
                  <a:gd name="T11" fmla="*/ 0 h 36"/>
                  <a:gd name="T12" fmla="*/ 0 w 32"/>
                  <a:gd name="T13" fmla="*/ 0 h 36"/>
                  <a:gd name="T14" fmla="*/ 0 w 32"/>
                  <a:gd name="T15" fmla="*/ 0 h 36"/>
                  <a:gd name="T16" fmla="*/ 0 w 32"/>
                  <a:gd name="T17" fmla="*/ 0 h 36"/>
                  <a:gd name="T18" fmla="*/ 0 w 32"/>
                  <a:gd name="T19" fmla="*/ 0 h 36"/>
                  <a:gd name="T20" fmla="*/ 0 w 32"/>
                  <a:gd name="T21" fmla="*/ 0 h 36"/>
                  <a:gd name="T22" fmla="*/ 0 w 32"/>
                  <a:gd name="T23" fmla="*/ 0 h 36"/>
                  <a:gd name="T24" fmla="*/ 0 w 32"/>
                  <a:gd name="T25" fmla="*/ 0 h 36"/>
                  <a:gd name="T26" fmla="*/ 0 w 32"/>
                  <a:gd name="T27" fmla="*/ 0 h 36"/>
                  <a:gd name="T28" fmla="*/ 0 w 32"/>
                  <a:gd name="T29" fmla="*/ 0 h 36"/>
                  <a:gd name="T30" fmla="*/ 0 w 32"/>
                  <a:gd name="T31" fmla="*/ 0 h 36"/>
                  <a:gd name="T32" fmla="*/ 0 w 32"/>
                  <a:gd name="T33" fmla="*/ 0 h 36"/>
                  <a:gd name="T34" fmla="*/ 0 w 32"/>
                  <a:gd name="T35" fmla="*/ 0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2"/>
                  <a:gd name="T55" fmla="*/ 0 h 36"/>
                  <a:gd name="T56" fmla="*/ 32 w 32"/>
                  <a:gd name="T57" fmla="*/ 36 h 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6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0 h 52"/>
                  <a:gd name="T2" fmla="*/ 0 w 146"/>
                  <a:gd name="T3" fmla="*/ 0 h 52"/>
                  <a:gd name="T4" fmla="*/ 0 w 146"/>
                  <a:gd name="T5" fmla="*/ 0 h 52"/>
                  <a:gd name="T6" fmla="*/ 0 w 146"/>
                  <a:gd name="T7" fmla="*/ 0 h 52"/>
                  <a:gd name="T8" fmla="*/ 0 w 146"/>
                  <a:gd name="T9" fmla="*/ 0 h 52"/>
                  <a:gd name="T10" fmla="*/ 0 w 146"/>
                  <a:gd name="T11" fmla="*/ 0 h 52"/>
                  <a:gd name="T12" fmla="*/ 0 w 146"/>
                  <a:gd name="T13" fmla="*/ 0 h 52"/>
                  <a:gd name="T14" fmla="*/ 0 w 146"/>
                  <a:gd name="T15" fmla="*/ 0 h 52"/>
                  <a:gd name="T16" fmla="*/ 0 w 146"/>
                  <a:gd name="T17" fmla="*/ 0 h 52"/>
                  <a:gd name="T18" fmla="*/ 0 w 146"/>
                  <a:gd name="T19" fmla="*/ 0 h 52"/>
                  <a:gd name="T20" fmla="*/ 0 w 146"/>
                  <a:gd name="T21" fmla="*/ 0 h 52"/>
                  <a:gd name="T22" fmla="*/ 0 w 146"/>
                  <a:gd name="T23" fmla="*/ 0 h 52"/>
                  <a:gd name="T24" fmla="*/ 0 w 146"/>
                  <a:gd name="T25" fmla="*/ 0 h 52"/>
                  <a:gd name="T26" fmla="*/ 0 w 146"/>
                  <a:gd name="T27" fmla="*/ 0 h 52"/>
                  <a:gd name="T28" fmla="*/ 0 w 146"/>
                  <a:gd name="T29" fmla="*/ 0 h 52"/>
                  <a:gd name="T30" fmla="*/ 0 w 146"/>
                  <a:gd name="T31" fmla="*/ 0 h 52"/>
                  <a:gd name="T32" fmla="*/ 0 w 146"/>
                  <a:gd name="T33" fmla="*/ 0 h 52"/>
                  <a:gd name="T34" fmla="*/ 0 w 146"/>
                  <a:gd name="T35" fmla="*/ 0 h 52"/>
                  <a:gd name="T36" fmla="*/ 0 w 146"/>
                  <a:gd name="T37" fmla="*/ 0 h 52"/>
                  <a:gd name="T38" fmla="*/ 0 w 146"/>
                  <a:gd name="T39" fmla="*/ 0 h 52"/>
                  <a:gd name="T40" fmla="*/ 0 w 146"/>
                  <a:gd name="T41" fmla="*/ 0 h 52"/>
                  <a:gd name="T42" fmla="*/ 0 w 146"/>
                  <a:gd name="T43" fmla="*/ 0 h 52"/>
                  <a:gd name="T44" fmla="*/ 0 w 146"/>
                  <a:gd name="T45" fmla="*/ 0 h 52"/>
                  <a:gd name="T46" fmla="*/ 0 w 146"/>
                  <a:gd name="T47" fmla="*/ 0 h 52"/>
                  <a:gd name="T48" fmla="*/ 0 w 146"/>
                  <a:gd name="T49" fmla="*/ 0 h 52"/>
                  <a:gd name="T50" fmla="*/ 0 w 146"/>
                  <a:gd name="T51" fmla="*/ 0 h 52"/>
                  <a:gd name="T52" fmla="*/ 0 w 146"/>
                  <a:gd name="T53" fmla="*/ 0 h 52"/>
                  <a:gd name="T54" fmla="*/ 0 w 146"/>
                  <a:gd name="T55" fmla="*/ 0 h 52"/>
                  <a:gd name="T56" fmla="*/ 0 w 146"/>
                  <a:gd name="T57" fmla="*/ 0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6"/>
                  <a:gd name="T88" fmla="*/ 0 h 52"/>
                  <a:gd name="T89" fmla="*/ 146 w 146"/>
                  <a:gd name="T90" fmla="*/ 52 h 52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7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0 w 60"/>
                  <a:gd name="T1" fmla="*/ 0 h 31"/>
                  <a:gd name="T2" fmla="*/ 0 w 60"/>
                  <a:gd name="T3" fmla="*/ 0 h 31"/>
                  <a:gd name="T4" fmla="*/ 0 w 60"/>
                  <a:gd name="T5" fmla="*/ 0 h 31"/>
                  <a:gd name="T6" fmla="*/ 0 w 60"/>
                  <a:gd name="T7" fmla="*/ 0 h 31"/>
                  <a:gd name="T8" fmla="*/ 0 w 60"/>
                  <a:gd name="T9" fmla="*/ 0 h 31"/>
                  <a:gd name="T10" fmla="*/ 0 w 60"/>
                  <a:gd name="T11" fmla="*/ 0 h 31"/>
                  <a:gd name="T12" fmla="*/ 0 w 60"/>
                  <a:gd name="T13" fmla="*/ 0 h 31"/>
                  <a:gd name="T14" fmla="*/ 0 w 60"/>
                  <a:gd name="T15" fmla="*/ 0 h 31"/>
                  <a:gd name="T16" fmla="*/ 0 w 60"/>
                  <a:gd name="T17" fmla="*/ 0 h 31"/>
                  <a:gd name="T18" fmla="*/ 0 w 60"/>
                  <a:gd name="T19" fmla="*/ 0 h 31"/>
                  <a:gd name="T20" fmla="*/ 0 w 60"/>
                  <a:gd name="T21" fmla="*/ 0 h 31"/>
                  <a:gd name="T22" fmla="*/ 0 w 60"/>
                  <a:gd name="T23" fmla="*/ 0 h 31"/>
                  <a:gd name="T24" fmla="*/ 0 w 60"/>
                  <a:gd name="T25" fmla="*/ 0 h 31"/>
                  <a:gd name="T26" fmla="*/ 0 w 60"/>
                  <a:gd name="T27" fmla="*/ 0 h 31"/>
                  <a:gd name="T28" fmla="*/ 0 w 60"/>
                  <a:gd name="T29" fmla="*/ 0 h 31"/>
                  <a:gd name="T30" fmla="*/ 0 w 60"/>
                  <a:gd name="T31" fmla="*/ 0 h 31"/>
                  <a:gd name="T32" fmla="*/ 0 w 60"/>
                  <a:gd name="T33" fmla="*/ 0 h 31"/>
                  <a:gd name="T34" fmla="*/ 0 w 60"/>
                  <a:gd name="T35" fmla="*/ 0 h 31"/>
                  <a:gd name="T36" fmla="*/ 0 w 60"/>
                  <a:gd name="T37" fmla="*/ 0 h 31"/>
                  <a:gd name="T38" fmla="*/ 0 w 60"/>
                  <a:gd name="T39" fmla="*/ 0 h 31"/>
                  <a:gd name="T40" fmla="*/ 0 w 60"/>
                  <a:gd name="T41" fmla="*/ 0 h 31"/>
                  <a:gd name="T42" fmla="*/ 0 w 60"/>
                  <a:gd name="T43" fmla="*/ 0 h 31"/>
                  <a:gd name="T44" fmla="*/ 0 w 60"/>
                  <a:gd name="T45" fmla="*/ 0 h 31"/>
                  <a:gd name="T46" fmla="*/ 0 w 60"/>
                  <a:gd name="T47" fmla="*/ 0 h 31"/>
                  <a:gd name="T48" fmla="*/ 0 w 60"/>
                  <a:gd name="T49" fmla="*/ 0 h 31"/>
                  <a:gd name="T50" fmla="*/ 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60"/>
                  <a:gd name="T79" fmla="*/ 0 h 31"/>
                  <a:gd name="T80" fmla="*/ 60 w 60"/>
                  <a:gd name="T81" fmla="*/ 31 h 3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8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0 h 62"/>
                  <a:gd name="T2" fmla="*/ 0 w 80"/>
                  <a:gd name="T3" fmla="*/ 0 h 62"/>
                  <a:gd name="T4" fmla="*/ 0 w 80"/>
                  <a:gd name="T5" fmla="*/ 0 h 62"/>
                  <a:gd name="T6" fmla="*/ 0 w 80"/>
                  <a:gd name="T7" fmla="*/ 0 h 62"/>
                  <a:gd name="T8" fmla="*/ 0 w 80"/>
                  <a:gd name="T9" fmla="*/ 0 h 62"/>
                  <a:gd name="T10" fmla="*/ 0 w 80"/>
                  <a:gd name="T11" fmla="*/ 0 h 62"/>
                  <a:gd name="T12" fmla="*/ 0 w 80"/>
                  <a:gd name="T13" fmla="*/ 0 h 62"/>
                  <a:gd name="T14" fmla="*/ 0 w 80"/>
                  <a:gd name="T15" fmla="*/ 0 h 62"/>
                  <a:gd name="T16" fmla="*/ 0 w 80"/>
                  <a:gd name="T17" fmla="*/ 0 h 62"/>
                  <a:gd name="T18" fmla="*/ 0 w 80"/>
                  <a:gd name="T19" fmla="*/ 0 h 62"/>
                  <a:gd name="T20" fmla="*/ 0 w 80"/>
                  <a:gd name="T21" fmla="*/ 0 h 62"/>
                  <a:gd name="T22" fmla="*/ 0 w 80"/>
                  <a:gd name="T23" fmla="*/ 0 h 62"/>
                  <a:gd name="T24" fmla="*/ 0 w 80"/>
                  <a:gd name="T25" fmla="*/ 0 h 62"/>
                  <a:gd name="T26" fmla="*/ 0 w 80"/>
                  <a:gd name="T27" fmla="*/ 0 h 62"/>
                  <a:gd name="T28" fmla="*/ 0 w 80"/>
                  <a:gd name="T29" fmla="*/ 0 h 62"/>
                  <a:gd name="T30" fmla="*/ 0 w 80"/>
                  <a:gd name="T31" fmla="*/ 0 h 62"/>
                  <a:gd name="T32" fmla="*/ 0 w 80"/>
                  <a:gd name="T33" fmla="*/ 0 h 62"/>
                  <a:gd name="T34" fmla="*/ 0 w 80"/>
                  <a:gd name="T35" fmla="*/ 0 h 62"/>
                  <a:gd name="T36" fmla="*/ 0 w 80"/>
                  <a:gd name="T37" fmla="*/ 0 h 62"/>
                  <a:gd name="T38" fmla="*/ 0 w 80"/>
                  <a:gd name="T39" fmla="*/ 0 h 62"/>
                  <a:gd name="T40" fmla="*/ 0 w 80"/>
                  <a:gd name="T41" fmla="*/ 0 h 62"/>
                  <a:gd name="T42" fmla="*/ 0 w 80"/>
                  <a:gd name="T43" fmla="*/ 0 h 62"/>
                  <a:gd name="T44" fmla="*/ 0 w 80"/>
                  <a:gd name="T45" fmla="*/ 0 h 62"/>
                  <a:gd name="T46" fmla="*/ 0 w 80"/>
                  <a:gd name="T47" fmla="*/ 0 h 62"/>
                  <a:gd name="T48" fmla="*/ 0 w 80"/>
                  <a:gd name="T49" fmla="*/ 0 h 62"/>
                  <a:gd name="T50" fmla="*/ 0 w 80"/>
                  <a:gd name="T51" fmla="*/ 0 h 62"/>
                  <a:gd name="T52" fmla="*/ 0 w 80"/>
                  <a:gd name="T53" fmla="*/ 0 h 62"/>
                  <a:gd name="T54" fmla="*/ 0 w 80"/>
                  <a:gd name="T55" fmla="*/ 0 h 62"/>
                  <a:gd name="T56" fmla="*/ 0 w 80"/>
                  <a:gd name="T57" fmla="*/ 0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80"/>
                  <a:gd name="T88" fmla="*/ 0 h 62"/>
                  <a:gd name="T89" fmla="*/ 80 w 80"/>
                  <a:gd name="T90" fmla="*/ 62 h 62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9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0 w 106"/>
                  <a:gd name="T1" fmla="*/ 0 h 49"/>
                  <a:gd name="T2" fmla="*/ 0 w 106"/>
                  <a:gd name="T3" fmla="*/ 0 h 49"/>
                  <a:gd name="T4" fmla="*/ 0 w 106"/>
                  <a:gd name="T5" fmla="*/ 0 h 49"/>
                  <a:gd name="T6" fmla="*/ 0 w 106"/>
                  <a:gd name="T7" fmla="*/ 0 h 49"/>
                  <a:gd name="T8" fmla="*/ 0 w 106"/>
                  <a:gd name="T9" fmla="*/ 0 h 49"/>
                  <a:gd name="T10" fmla="*/ 0 w 106"/>
                  <a:gd name="T11" fmla="*/ 0 h 49"/>
                  <a:gd name="T12" fmla="*/ 0 w 106"/>
                  <a:gd name="T13" fmla="*/ 0 h 49"/>
                  <a:gd name="T14" fmla="*/ 0 w 106"/>
                  <a:gd name="T15" fmla="*/ 0 h 49"/>
                  <a:gd name="T16" fmla="*/ 0 w 106"/>
                  <a:gd name="T17" fmla="*/ 0 h 49"/>
                  <a:gd name="T18" fmla="*/ 0 w 106"/>
                  <a:gd name="T19" fmla="*/ 0 h 49"/>
                  <a:gd name="T20" fmla="*/ 0 w 106"/>
                  <a:gd name="T21" fmla="*/ 0 h 49"/>
                  <a:gd name="T22" fmla="*/ 0 w 106"/>
                  <a:gd name="T23" fmla="*/ 0 h 49"/>
                  <a:gd name="T24" fmla="*/ 0 w 106"/>
                  <a:gd name="T25" fmla="*/ 0 h 49"/>
                  <a:gd name="T26" fmla="*/ 0 w 106"/>
                  <a:gd name="T27" fmla="*/ 0 h 49"/>
                  <a:gd name="T28" fmla="*/ 0 w 106"/>
                  <a:gd name="T29" fmla="*/ 0 h 49"/>
                  <a:gd name="T30" fmla="*/ 0 w 106"/>
                  <a:gd name="T31" fmla="*/ 0 h 49"/>
                  <a:gd name="T32" fmla="*/ 0 w 106"/>
                  <a:gd name="T33" fmla="*/ 0 h 49"/>
                  <a:gd name="T34" fmla="*/ 0 w 106"/>
                  <a:gd name="T35" fmla="*/ 0 h 49"/>
                  <a:gd name="T36" fmla="*/ 0 w 106"/>
                  <a:gd name="T37" fmla="*/ 0 h 49"/>
                  <a:gd name="T38" fmla="*/ 0 w 106"/>
                  <a:gd name="T39" fmla="*/ 0 h 49"/>
                  <a:gd name="T40" fmla="*/ 0 w 106"/>
                  <a:gd name="T41" fmla="*/ 0 h 49"/>
                  <a:gd name="T42" fmla="*/ 0 w 106"/>
                  <a:gd name="T43" fmla="*/ 0 h 49"/>
                  <a:gd name="T44" fmla="*/ 0 w 106"/>
                  <a:gd name="T45" fmla="*/ 0 h 49"/>
                  <a:gd name="T46" fmla="*/ 0 w 106"/>
                  <a:gd name="T47" fmla="*/ 0 h 49"/>
                  <a:gd name="T48" fmla="*/ 0 w 106"/>
                  <a:gd name="T49" fmla="*/ 0 h 49"/>
                  <a:gd name="T50" fmla="*/ 0 w 106"/>
                  <a:gd name="T51" fmla="*/ 0 h 49"/>
                  <a:gd name="T52" fmla="*/ 0 w 106"/>
                  <a:gd name="T53" fmla="*/ 0 h 49"/>
                  <a:gd name="T54" fmla="*/ 0 w 106"/>
                  <a:gd name="T55" fmla="*/ 0 h 49"/>
                  <a:gd name="T56" fmla="*/ 0 w 106"/>
                  <a:gd name="T57" fmla="*/ 0 h 49"/>
                  <a:gd name="T58" fmla="*/ 0 w 106"/>
                  <a:gd name="T59" fmla="*/ 0 h 49"/>
                  <a:gd name="T60" fmla="*/ 0 w 106"/>
                  <a:gd name="T61" fmla="*/ 0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06"/>
                  <a:gd name="T94" fmla="*/ 0 h 49"/>
                  <a:gd name="T95" fmla="*/ 106 w 106"/>
                  <a:gd name="T96" fmla="*/ 49 h 49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0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0 h 22"/>
                  <a:gd name="T2" fmla="*/ 0 w 47"/>
                  <a:gd name="T3" fmla="*/ 0 h 22"/>
                  <a:gd name="T4" fmla="*/ 0 w 47"/>
                  <a:gd name="T5" fmla="*/ 0 h 22"/>
                  <a:gd name="T6" fmla="*/ 0 w 47"/>
                  <a:gd name="T7" fmla="*/ 0 h 22"/>
                  <a:gd name="T8" fmla="*/ 0 w 47"/>
                  <a:gd name="T9" fmla="*/ 0 h 22"/>
                  <a:gd name="T10" fmla="*/ 0 w 47"/>
                  <a:gd name="T11" fmla="*/ 0 h 22"/>
                  <a:gd name="T12" fmla="*/ 0 w 47"/>
                  <a:gd name="T13" fmla="*/ 0 h 22"/>
                  <a:gd name="T14" fmla="*/ 0 w 47"/>
                  <a:gd name="T15" fmla="*/ 0 h 22"/>
                  <a:gd name="T16" fmla="*/ 0 w 47"/>
                  <a:gd name="T17" fmla="*/ 0 h 22"/>
                  <a:gd name="T18" fmla="*/ 0 w 47"/>
                  <a:gd name="T19" fmla="*/ 0 h 22"/>
                  <a:gd name="T20" fmla="*/ 0 w 47"/>
                  <a:gd name="T21" fmla="*/ 0 h 22"/>
                  <a:gd name="T22" fmla="*/ 0 w 47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7"/>
                  <a:gd name="T37" fmla="*/ 0 h 22"/>
                  <a:gd name="T38" fmla="*/ 47 w 47"/>
                  <a:gd name="T39" fmla="*/ 22 h 2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1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0 w 53"/>
                  <a:gd name="T1" fmla="*/ 0 h 32"/>
                  <a:gd name="T2" fmla="*/ 0 w 53"/>
                  <a:gd name="T3" fmla="*/ 0 h 32"/>
                  <a:gd name="T4" fmla="*/ 0 w 53"/>
                  <a:gd name="T5" fmla="*/ 0 h 32"/>
                  <a:gd name="T6" fmla="*/ 0 w 53"/>
                  <a:gd name="T7" fmla="*/ 0 h 32"/>
                  <a:gd name="T8" fmla="*/ 0 w 53"/>
                  <a:gd name="T9" fmla="*/ 0 h 32"/>
                  <a:gd name="T10" fmla="*/ 0 w 53"/>
                  <a:gd name="T11" fmla="*/ 0 h 32"/>
                  <a:gd name="T12" fmla="*/ 0 w 53"/>
                  <a:gd name="T13" fmla="*/ 0 h 32"/>
                  <a:gd name="T14" fmla="*/ 0 w 53"/>
                  <a:gd name="T15" fmla="*/ 0 h 32"/>
                  <a:gd name="T16" fmla="*/ 0 w 53"/>
                  <a:gd name="T17" fmla="*/ 0 h 32"/>
                  <a:gd name="T18" fmla="*/ 0 w 53"/>
                  <a:gd name="T19" fmla="*/ 0 h 32"/>
                  <a:gd name="T20" fmla="*/ 0 w 53"/>
                  <a:gd name="T21" fmla="*/ 0 h 32"/>
                  <a:gd name="T22" fmla="*/ 0 w 53"/>
                  <a:gd name="T23" fmla="*/ 0 h 32"/>
                  <a:gd name="T24" fmla="*/ 0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3"/>
                  <a:gd name="T40" fmla="*/ 0 h 32"/>
                  <a:gd name="T41" fmla="*/ 53 w 53"/>
                  <a:gd name="T42" fmla="*/ 32 h 3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2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0 w 46"/>
                  <a:gd name="T1" fmla="*/ 0 h 34"/>
                  <a:gd name="T2" fmla="*/ 0 w 46"/>
                  <a:gd name="T3" fmla="*/ 0 h 34"/>
                  <a:gd name="T4" fmla="*/ 0 w 46"/>
                  <a:gd name="T5" fmla="*/ 0 h 34"/>
                  <a:gd name="T6" fmla="*/ 0 w 46"/>
                  <a:gd name="T7" fmla="*/ 0 h 34"/>
                  <a:gd name="T8" fmla="*/ 0 w 46"/>
                  <a:gd name="T9" fmla="*/ 0 h 34"/>
                  <a:gd name="T10" fmla="*/ 0 w 46"/>
                  <a:gd name="T11" fmla="*/ 0 h 34"/>
                  <a:gd name="T12" fmla="*/ 0 w 46"/>
                  <a:gd name="T13" fmla="*/ 0 h 34"/>
                  <a:gd name="T14" fmla="*/ 0 w 46"/>
                  <a:gd name="T15" fmla="*/ 0 h 34"/>
                  <a:gd name="T16" fmla="*/ 0 w 46"/>
                  <a:gd name="T17" fmla="*/ 0 h 34"/>
                  <a:gd name="T18" fmla="*/ 0 w 46"/>
                  <a:gd name="T19" fmla="*/ 0 h 34"/>
                  <a:gd name="T20" fmla="*/ 0 w 46"/>
                  <a:gd name="T21" fmla="*/ 0 h 34"/>
                  <a:gd name="T22" fmla="*/ 0 w 46"/>
                  <a:gd name="T23" fmla="*/ 0 h 34"/>
                  <a:gd name="T24" fmla="*/ 0 w 46"/>
                  <a:gd name="T25" fmla="*/ 0 h 34"/>
                  <a:gd name="T26" fmla="*/ 0 w 46"/>
                  <a:gd name="T27" fmla="*/ 0 h 34"/>
                  <a:gd name="T28" fmla="*/ 0 w 46"/>
                  <a:gd name="T29" fmla="*/ 0 h 34"/>
                  <a:gd name="T30" fmla="*/ 0 w 46"/>
                  <a:gd name="T31" fmla="*/ 0 h 34"/>
                  <a:gd name="T32" fmla="*/ 0 w 46"/>
                  <a:gd name="T33" fmla="*/ 0 h 34"/>
                  <a:gd name="T34" fmla="*/ 0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6"/>
                  <a:gd name="T55" fmla="*/ 0 h 34"/>
                  <a:gd name="T56" fmla="*/ 46 w 46"/>
                  <a:gd name="T57" fmla="*/ 34 h 3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3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0 h 25"/>
                  <a:gd name="T2" fmla="*/ 0 w 48"/>
                  <a:gd name="T3" fmla="*/ 0 h 25"/>
                  <a:gd name="T4" fmla="*/ 0 w 48"/>
                  <a:gd name="T5" fmla="*/ 0 h 25"/>
                  <a:gd name="T6" fmla="*/ 0 w 48"/>
                  <a:gd name="T7" fmla="*/ 0 h 25"/>
                  <a:gd name="T8" fmla="*/ 0 w 48"/>
                  <a:gd name="T9" fmla="*/ 0 h 25"/>
                  <a:gd name="T10" fmla="*/ 0 w 48"/>
                  <a:gd name="T11" fmla="*/ 0 h 25"/>
                  <a:gd name="T12" fmla="*/ 0 w 48"/>
                  <a:gd name="T13" fmla="*/ 0 h 25"/>
                  <a:gd name="T14" fmla="*/ 0 w 48"/>
                  <a:gd name="T15" fmla="*/ 0 h 25"/>
                  <a:gd name="T16" fmla="*/ 0 w 48"/>
                  <a:gd name="T17" fmla="*/ 0 h 25"/>
                  <a:gd name="T18" fmla="*/ 0 w 48"/>
                  <a:gd name="T19" fmla="*/ 0 h 25"/>
                  <a:gd name="T20" fmla="*/ 0 w 48"/>
                  <a:gd name="T21" fmla="*/ 0 h 25"/>
                  <a:gd name="T22" fmla="*/ 0 w 48"/>
                  <a:gd name="T23" fmla="*/ 0 h 25"/>
                  <a:gd name="T24" fmla="*/ 0 w 48"/>
                  <a:gd name="T25" fmla="*/ 0 h 25"/>
                  <a:gd name="T26" fmla="*/ 0 w 48"/>
                  <a:gd name="T27" fmla="*/ 0 h 25"/>
                  <a:gd name="T28" fmla="*/ 0 w 48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8"/>
                  <a:gd name="T46" fmla="*/ 0 h 25"/>
                  <a:gd name="T47" fmla="*/ 48 w 48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4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0 h 37"/>
                  <a:gd name="T4" fmla="*/ 0 w 30"/>
                  <a:gd name="T5" fmla="*/ 0 h 37"/>
                  <a:gd name="T6" fmla="*/ 0 w 30"/>
                  <a:gd name="T7" fmla="*/ 0 h 37"/>
                  <a:gd name="T8" fmla="*/ 0 w 30"/>
                  <a:gd name="T9" fmla="*/ 0 h 37"/>
                  <a:gd name="T10" fmla="*/ 0 w 30"/>
                  <a:gd name="T11" fmla="*/ 0 h 37"/>
                  <a:gd name="T12" fmla="*/ 0 w 30"/>
                  <a:gd name="T13" fmla="*/ 0 h 37"/>
                  <a:gd name="T14" fmla="*/ 0 w 30"/>
                  <a:gd name="T15" fmla="*/ 0 h 37"/>
                  <a:gd name="T16" fmla="*/ 0 w 30"/>
                  <a:gd name="T17" fmla="*/ 0 h 37"/>
                  <a:gd name="T18" fmla="*/ 0 w 30"/>
                  <a:gd name="T19" fmla="*/ 0 h 37"/>
                  <a:gd name="T20" fmla="*/ 0 w 30"/>
                  <a:gd name="T21" fmla="*/ 0 h 37"/>
                  <a:gd name="T22" fmla="*/ 0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0"/>
                  <a:gd name="T40" fmla="*/ 0 h 37"/>
                  <a:gd name="T41" fmla="*/ 30 w 30"/>
                  <a:gd name="T42" fmla="*/ 37 h 3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5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0 w 113"/>
                  <a:gd name="T1" fmla="*/ 0 h 46"/>
                  <a:gd name="T2" fmla="*/ 0 w 113"/>
                  <a:gd name="T3" fmla="*/ 0 h 46"/>
                  <a:gd name="T4" fmla="*/ 0 w 113"/>
                  <a:gd name="T5" fmla="*/ 0 h 46"/>
                  <a:gd name="T6" fmla="*/ 0 w 113"/>
                  <a:gd name="T7" fmla="*/ 0 h 46"/>
                  <a:gd name="T8" fmla="*/ 0 w 113"/>
                  <a:gd name="T9" fmla="*/ 0 h 46"/>
                  <a:gd name="T10" fmla="*/ 0 w 113"/>
                  <a:gd name="T11" fmla="*/ 0 h 46"/>
                  <a:gd name="T12" fmla="*/ 0 w 113"/>
                  <a:gd name="T13" fmla="*/ 0 h 46"/>
                  <a:gd name="T14" fmla="*/ 0 w 113"/>
                  <a:gd name="T15" fmla="*/ 0 h 46"/>
                  <a:gd name="T16" fmla="*/ 0 w 113"/>
                  <a:gd name="T17" fmla="*/ 0 h 46"/>
                  <a:gd name="T18" fmla="*/ 0 w 113"/>
                  <a:gd name="T19" fmla="*/ 0 h 46"/>
                  <a:gd name="T20" fmla="*/ 0 w 113"/>
                  <a:gd name="T21" fmla="*/ 0 h 46"/>
                  <a:gd name="T22" fmla="*/ 0 w 113"/>
                  <a:gd name="T23" fmla="*/ 0 h 46"/>
                  <a:gd name="T24" fmla="*/ 0 w 113"/>
                  <a:gd name="T25" fmla="*/ 0 h 46"/>
                  <a:gd name="T26" fmla="*/ 0 w 113"/>
                  <a:gd name="T27" fmla="*/ 0 h 46"/>
                  <a:gd name="T28" fmla="*/ 0 w 113"/>
                  <a:gd name="T29" fmla="*/ 0 h 46"/>
                  <a:gd name="T30" fmla="*/ 0 w 113"/>
                  <a:gd name="T31" fmla="*/ 0 h 46"/>
                  <a:gd name="T32" fmla="*/ 0 w 113"/>
                  <a:gd name="T33" fmla="*/ 0 h 46"/>
                  <a:gd name="T34" fmla="*/ 0 w 113"/>
                  <a:gd name="T35" fmla="*/ 0 h 46"/>
                  <a:gd name="T36" fmla="*/ 0 w 113"/>
                  <a:gd name="T37" fmla="*/ 0 h 46"/>
                  <a:gd name="T38" fmla="*/ 0 w 113"/>
                  <a:gd name="T39" fmla="*/ 0 h 46"/>
                  <a:gd name="T40" fmla="*/ 0 w 113"/>
                  <a:gd name="T41" fmla="*/ 0 h 46"/>
                  <a:gd name="T42" fmla="*/ 0 w 113"/>
                  <a:gd name="T43" fmla="*/ 0 h 46"/>
                  <a:gd name="T44" fmla="*/ 0 w 113"/>
                  <a:gd name="T45" fmla="*/ 0 h 46"/>
                  <a:gd name="T46" fmla="*/ 0 w 113"/>
                  <a:gd name="T47" fmla="*/ 0 h 46"/>
                  <a:gd name="T48" fmla="*/ 0 w 113"/>
                  <a:gd name="T49" fmla="*/ 0 h 46"/>
                  <a:gd name="T50" fmla="*/ 0 w 113"/>
                  <a:gd name="T51" fmla="*/ 0 h 46"/>
                  <a:gd name="T52" fmla="*/ 0 w 113"/>
                  <a:gd name="T53" fmla="*/ 0 h 46"/>
                  <a:gd name="T54" fmla="*/ 0 w 113"/>
                  <a:gd name="T55" fmla="*/ 0 h 46"/>
                  <a:gd name="T56" fmla="*/ 0 w 113"/>
                  <a:gd name="T57" fmla="*/ 0 h 46"/>
                  <a:gd name="T58" fmla="*/ 0 w 113"/>
                  <a:gd name="T59" fmla="*/ 0 h 46"/>
                  <a:gd name="T60" fmla="*/ 0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13"/>
                  <a:gd name="T94" fmla="*/ 0 h 46"/>
                  <a:gd name="T95" fmla="*/ 113 w 113"/>
                  <a:gd name="T96" fmla="*/ 46 h 4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6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0 h 82"/>
                  <a:gd name="T2" fmla="*/ 0 w 153"/>
                  <a:gd name="T3" fmla="*/ 0 h 82"/>
                  <a:gd name="T4" fmla="*/ 0 w 153"/>
                  <a:gd name="T5" fmla="*/ 0 h 82"/>
                  <a:gd name="T6" fmla="*/ 0 w 153"/>
                  <a:gd name="T7" fmla="*/ 0 h 82"/>
                  <a:gd name="T8" fmla="*/ 0 w 153"/>
                  <a:gd name="T9" fmla="*/ 0 h 82"/>
                  <a:gd name="T10" fmla="*/ 0 w 153"/>
                  <a:gd name="T11" fmla="*/ 0 h 82"/>
                  <a:gd name="T12" fmla="*/ 0 w 153"/>
                  <a:gd name="T13" fmla="*/ 0 h 82"/>
                  <a:gd name="T14" fmla="*/ 0 w 153"/>
                  <a:gd name="T15" fmla="*/ 0 h 82"/>
                  <a:gd name="T16" fmla="*/ 0 w 153"/>
                  <a:gd name="T17" fmla="*/ 0 h 82"/>
                  <a:gd name="T18" fmla="*/ 0 w 153"/>
                  <a:gd name="T19" fmla="*/ 0 h 82"/>
                  <a:gd name="T20" fmla="*/ 0 w 153"/>
                  <a:gd name="T21" fmla="*/ 0 h 82"/>
                  <a:gd name="T22" fmla="*/ 0 w 153"/>
                  <a:gd name="T23" fmla="*/ 0 h 82"/>
                  <a:gd name="T24" fmla="*/ 0 w 153"/>
                  <a:gd name="T25" fmla="*/ 0 h 82"/>
                  <a:gd name="T26" fmla="*/ 0 w 153"/>
                  <a:gd name="T27" fmla="*/ 0 h 82"/>
                  <a:gd name="T28" fmla="*/ 0 w 153"/>
                  <a:gd name="T29" fmla="*/ 0 h 82"/>
                  <a:gd name="T30" fmla="*/ 0 w 153"/>
                  <a:gd name="T31" fmla="*/ 0 h 82"/>
                  <a:gd name="T32" fmla="*/ 0 w 153"/>
                  <a:gd name="T33" fmla="*/ 0 h 82"/>
                  <a:gd name="T34" fmla="*/ 0 w 153"/>
                  <a:gd name="T35" fmla="*/ 0 h 82"/>
                  <a:gd name="T36" fmla="*/ 0 w 153"/>
                  <a:gd name="T37" fmla="*/ 0 h 82"/>
                  <a:gd name="T38" fmla="*/ 0 w 153"/>
                  <a:gd name="T39" fmla="*/ 0 h 82"/>
                  <a:gd name="T40" fmla="*/ 0 w 153"/>
                  <a:gd name="T41" fmla="*/ 0 h 82"/>
                  <a:gd name="T42" fmla="*/ 0 w 153"/>
                  <a:gd name="T43" fmla="*/ 0 h 82"/>
                  <a:gd name="T44" fmla="*/ 0 w 153"/>
                  <a:gd name="T45" fmla="*/ 0 h 82"/>
                  <a:gd name="T46" fmla="*/ 0 w 153"/>
                  <a:gd name="T47" fmla="*/ 0 h 82"/>
                  <a:gd name="T48" fmla="*/ 0 w 153"/>
                  <a:gd name="T49" fmla="*/ 0 h 82"/>
                  <a:gd name="T50" fmla="*/ 0 w 153"/>
                  <a:gd name="T51" fmla="*/ 0 h 82"/>
                  <a:gd name="T52" fmla="*/ 0 w 153"/>
                  <a:gd name="T53" fmla="*/ 0 h 82"/>
                  <a:gd name="T54" fmla="*/ 0 w 153"/>
                  <a:gd name="T55" fmla="*/ 0 h 82"/>
                  <a:gd name="T56" fmla="*/ 0 w 153"/>
                  <a:gd name="T57" fmla="*/ 0 h 82"/>
                  <a:gd name="T58" fmla="*/ 0 w 153"/>
                  <a:gd name="T59" fmla="*/ 0 h 82"/>
                  <a:gd name="T60" fmla="*/ 0 w 153"/>
                  <a:gd name="T61" fmla="*/ 0 h 82"/>
                  <a:gd name="T62" fmla="*/ 0 w 153"/>
                  <a:gd name="T63" fmla="*/ 0 h 82"/>
                  <a:gd name="T64" fmla="*/ 0 w 153"/>
                  <a:gd name="T65" fmla="*/ 0 h 82"/>
                  <a:gd name="T66" fmla="*/ 0 w 153"/>
                  <a:gd name="T67" fmla="*/ 0 h 82"/>
                  <a:gd name="T68" fmla="*/ 0 w 153"/>
                  <a:gd name="T69" fmla="*/ 0 h 82"/>
                  <a:gd name="T70" fmla="*/ 0 w 153"/>
                  <a:gd name="T71" fmla="*/ 0 h 82"/>
                  <a:gd name="T72" fmla="*/ 0 w 153"/>
                  <a:gd name="T73" fmla="*/ 0 h 82"/>
                  <a:gd name="T74" fmla="*/ 0 w 153"/>
                  <a:gd name="T75" fmla="*/ 0 h 82"/>
                  <a:gd name="T76" fmla="*/ 0 w 153"/>
                  <a:gd name="T77" fmla="*/ 0 h 82"/>
                  <a:gd name="T78" fmla="*/ 0 w 153"/>
                  <a:gd name="T79" fmla="*/ 0 h 82"/>
                  <a:gd name="T80" fmla="*/ 0 w 153"/>
                  <a:gd name="T81" fmla="*/ 0 h 82"/>
                  <a:gd name="T82" fmla="*/ 0 w 153"/>
                  <a:gd name="T83" fmla="*/ 0 h 82"/>
                  <a:gd name="T84" fmla="*/ 0 w 153"/>
                  <a:gd name="T85" fmla="*/ 0 h 82"/>
                  <a:gd name="T86" fmla="*/ 0 w 153"/>
                  <a:gd name="T87" fmla="*/ 0 h 82"/>
                  <a:gd name="T88" fmla="*/ 0 w 153"/>
                  <a:gd name="T89" fmla="*/ 0 h 82"/>
                  <a:gd name="T90" fmla="*/ 0 w 153"/>
                  <a:gd name="T91" fmla="*/ 0 h 82"/>
                  <a:gd name="T92" fmla="*/ 0 w 153"/>
                  <a:gd name="T93" fmla="*/ 0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53"/>
                  <a:gd name="T142" fmla="*/ 0 h 82"/>
                  <a:gd name="T143" fmla="*/ 153 w 153"/>
                  <a:gd name="T144" fmla="*/ 82 h 8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7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0 h 50"/>
                  <a:gd name="T2" fmla="*/ 0 w 86"/>
                  <a:gd name="T3" fmla="*/ 0 h 50"/>
                  <a:gd name="T4" fmla="*/ 0 w 86"/>
                  <a:gd name="T5" fmla="*/ 0 h 50"/>
                  <a:gd name="T6" fmla="*/ 0 w 86"/>
                  <a:gd name="T7" fmla="*/ 0 h 50"/>
                  <a:gd name="T8" fmla="*/ 0 w 86"/>
                  <a:gd name="T9" fmla="*/ 0 h 50"/>
                  <a:gd name="T10" fmla="*/ 0 w 86"/>
                  <a:gd name="T11" fmla="*/ 0 h 50"/>
                  <a:gd name="T12" fmla="*/ 0 w 86"/>
                  <a:gd name="T13" fmla="*/ 0 h 50"/>
                  <a:gd name="T14" fmla="*/ 0 w 86"/>
                  <a:gd name="T15" fmla="*/ 0 h 50"/>
                  <a:gd name="T16" fmla="*/ 0 w 86"/>
                  <a:gd name="T17" fmla="*/ 0 h 50"/>
                  <a:gd name="T18" fmla="*/ 0 w 86"/>
                  <a:gd name="T19" fmla="*/ 0 h 50"/>
                  <a:gd name="T20" fmla="*/ 0 w 86"/>
                  <a:gd name="T21" fmla="*/ 0 h 50"/>
                  <a:gd name="T22" fmla="*/ 0 w 86"/>
                  <a:gd name="T23" fmla="*/ 0 h 50"/>
                  <a:gd name="T24" fmla="*/ 0 w 86"/>
                  <a:gd name="T25" fmla="*/ 0 h 50"/>
                  <a:gd name="T26" fmla="*/ 0 w 86"/>
                  <a:gd name="T27" fmla="*/ 0 h 50"/>
                  <a:gd name="T28" fmla="*/ 0 w 86"/>
                  <a:gd name="T29" fmla="*/ 0 h 50"/>
                  <a:gd name="T30" fmla="*/ 0 w 86"/>
                  <a:gd name="T31" fmla="*/ 0 h 50"/>
                  <a:gd name="T32" fmla="*/ 0 w 86"/>
                  <a:gd name="T33" fmla="*/ 0 h 50"/>
                  <a:gd name="T34" fmla="*/ 0 w 86"/>
                  <a:gd name="T35" fmla="*/ 0 h 50"/>
                  <a:gd name="T36" fmla="*/ 0 w 86"/>
                  <a:gd name="T37" fmla="*/ 0 h 50"/>
                  <a:gd name="T38" fmla="*/ 0 w 86"/>
                  <a:gd name="T39" fmla="*/ 0 h 50"/>
                  <a:gd name="T40" fmla="*/ 0 w 86"/>
                  <a:gd name="T41" fmla="*/ 0 h 50"/>
                  <a:gd name="T42" fmla="*/ 0 w 86"/>
                  <a:gd name="T43" fmla="*/ 0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6"/>
                  <a:gd name="T67" fmla="*/ 0 h 50"/>
                  <a:gd name="T68" fmla="*/ 86 w 86"/>
                  <a:gd name="T69" fmla="*/ 50 h 5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8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0 w 172"/>
                  <a:gd name="T1" fmla="*/ 0 h 74"/>
                  <a:gd name="T2" fmla="*/ 0 w 172"/>
                  <a:gd name="T3" fmla="*/ 0 h 74"/>
                  <a:gd name="T4" fmla="*/ 0 w 172"/>
                  <a:gd name="T5" fmla="*/ 0 h 74"/>
                  <a:gd name="T6" fmla="*/ 0 w 172"/>
                  <a:gd name="T7" fmla="*/ 0 h 74"/>
                  <a:gd name="T8" fmla="*/ 0 w 172"/>
                  <a:gd name="T9" fmla="*/ 0 h 74"/>
                  <a:gd name="T10" fmla="*/ 0 w 172"/>
                  <a:gd name="T11" fmla="*/ 0 h 74"/>
                  <a:gd name="T12" fmla="*/ 0 w 172"/>
                  <a:gd name="T13" fmla="*/ 0 h 74"/>
                  <a:gd name="T14" fmla="*/ 0 w 172"/>
                  <a:gd name="T15" fmla="*/ 0 h 74"/>
                  <a:gd name="T16" fmla="*/ 0 w 172"/>
                  <a:gd name="T17" fmla="*/ 0 h 74"/>
                  <a:gd name="T18" fmla="*/ 0 w 172"/>
                  <a:gd name="T19" fmla="*/ 0 h 74"/>
                  <a:gd name="T20" fmla="*/ 0 w 172"/>
                  <a:gd name="T21" fmla="*/ 0 h 74"/>
                  <a:gd name="T22" fmla="*/ 0 w 172"/>
                  <a:gd name="T23" fmla="*/ 0 h 74"/>
                  <a:gd name="T24" fmla="*/ 0 w 172"/>
                  <a:gd name="T25" fmla="*/ 0 h 74"/>
                  <a:gd name="T26" fmla="*/ 0 w 172"/>
                  <a:gd name="T27" fmla="*/ 0 h 74"/>
                  <a:gd name="T28" fmla="*/ 0 w 172"/>
                  <a:gd name="T29" fmla="*/ 0 h 74"/>
                  <a:gd name="T30" fmla="*/ 0 w 172"/>
                  <a:gd name="T31" fmla="*/ 0 h 74"/>
                  <a:gd name="T32" fmla="*/ 0 w 172"/>
                  <a:gd name="T33" fmla="*/ 0 h 74"/>
                  <a:gd name="T34" fmla="*/ 0 w 172"/>
                  <a:gd name="T35" fmla="*/ 0 h 74"/>
                  <a:gd name="T36" fmla="*/ 0 w 172"/>
                  <a:gd name="T37" fmla="*/ 0 h 74"/>
                  <a:gd name="T38" fmla="*/ 0 w 172"/>
                  <a:gd name="T39" fmla="*/ 0 h 74"/>
                  <a:gd name="T40" fmla="*/ 0 w 172"/>
                  <a:gd name="T41" fmla="*/ 0 h 74"/>
                  <a:gd name="T42" fmla="*/ 0 w 172"/>
                  <a:gd name="T43" fmla="*/ 0 h 74"/>
                  <a:gd name="T44" fmla="*/ 0 w 172"/>
                  <a:gd name="T45" fmla="*/ 0 h 74"/>
                  <a:gd name="T46" fmla="*/ 0 w 172"/>
                  <a:gd name="T47" fmla="*/ 0 h 74"/>
                  <a:gd name="T48" fmla="*/ 0 w 172"/>
                  <a:gd name="T49" fmla="*/ 0 h 74"/>
                  <a:gd name="T50" fmla="*/ 0 w 172"/>
                  <a:gd name="T51" fmla="*/ 0 h 74"/>
                  <a:gd name="T52" fmla="*/ 0 w 172"/>
                  <a:gd name="T53" fmla="*/ 0 h 74"/>
                  <a:gd name="T54" fmla="*/ 0 w 172"/>
                  <a:gd name="T55" fmla="*/ 0 h 74"/>
                  <a:gd name="T56" fmla="*/ 0 w 172"/>
                  <a:gd name="T57" fmla="*/ 0 h 74"/>
                  <a:gd name="T58" fmla="*/ 0 w 172"/>
                  <a:gd name="T59" fmla="*/ 0 h 74"/>
                  <a:gd name="T60" fmla="*/ 0 w 172"/>
                  <a:gd name="T61" fmla="*/ 0 h 74"/>
                  <a:gd name="T62" fmla="*/ 0 w 172"/>
                  <a:gd name="T63" fmla="*/ 0 h 74"/>
                  <a:gd name="T64" fmla="*/ 0 w 172"/>
                  <a:gd name="T65" fmla="*/ 0 h 74"/>
                  <a:gd name="T66" fmla="*/ 0 w 172"/>
                  <a:gd name="T67" fmla="*/ 0 h 74"/>
                  <a:gd name="T68" fmla="*/ 0 w 172"/>
                  <a:gd name="T69" fmla="*/ 0 h 74"/>
                  <a:gd name="T70" fmla="*/ 0 w 172"/>
                  <a:gd name="T71" fmla="*/ 0 h 74"/>
                  <a:gd name="T72" fmla="*/ 0 w 172"/>
                  <a:gd name="T73" fmla="*/ 0 h 74"/>
                  <a:gd name="T74" fmla="*/ 0 w 172"/>
                  <a:gd name="T75" fmla="*/ 0 h 74"/>
                  <a:gd name="T76" fmla="*/ 0 w 172"/>
                  <a:gd name="T77" fmla="*/ 0 h 74"/>
                  <a:gd name="T78" fmla="*/ 0 w 172"/>
                  <a:gd name="T79" fmla="*/ 0 h 74"/>
                  <a:gd name="T80" fmla="*/ 0 w 172"/>
                  <a:gd name="T81" fmla="*/ 0 h 74"/>
                  <a:gd name="T82" fmla="*/ 0 w 172"/>
                  <a:gd name="T83" fmla="*/ 0 h 74"/>
                  <a:gd name="T84" fmla="*/ 0 w 172"/>
                  <a:gd name="T85" fmla="*/ 0 h 74"/>
                  <a:gd name="T86" fmla="*/ 0 w 172"/>
                  <a:gd name="T87" fmla="*/ 0 h 74"/>
                  <a:gd name="T88" fmla="*/ 0 w 172"/>
                  <a:gd name="T89" fmla="*/ 0 h 74"/>
                  <a:gd name="T90" fmla="*/ 0 w 172"/>
                  <a:gd name="T91" fmla="*/ 0 h 74"/>
                  <a:gd name="T92" fmla="*/ 0 w 172"/>
                  <a:gd name="T93" fmla="*/ 0 h 74"/>
                  <a:gd name="T94" fmla="*/ 0 w 172"/>
                  <a:gd name="T95" fmla="*/ 0 h 74"/>
                  <a:gd name="T96" fmla="*/ 0 w 172"/>
                  <a:gd name="T97" fmla="*/ 0 h 74"/>
                  <a:gd name="T98" fmla="*/ 0 w 172"/>
                  <a:gd name="T99" fmla="*/ 0 h 74"/>
                  <a:gd name="T100" fmla="*/ 0 w 172"/>
                  <a:gd name="T101" fmla="*/ 0 h 74"/>
                  <a:gd name="T102" fmla="*/ 0 w 172"/>
                  <a:gd name="T103" fmla="*/ 0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72"/>
                  <a:gd name="T157" fmla="*/ 0 h 74"/>
                  <a:gd name="T158" fmla="*/ 172 w 172"/>
                  <a:gd name="T159" fmla="*/ 74 h 7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9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0 w 120"/>
                  <a:gd name="T1" fmla="*/ 0 h 49"/>
                  <a:gd name="T2" fmla="*/ 0 w 120"/>
                  <a:gd name="T3" fmla="*/ 0 h 49"/>
                  <a:gd name="T4" fmla="*/ 0 w 120"/>
                  <a:gd name="T5" fmla="*/ 0 h 49"/>
                  <a:gd name="T6" fmla="*/ 0 w 120"/>
                  <a:gd name="T7" fmla="*/ 0 h 49"/>
                  <a:gd name="T8" fmla="*/ 0 w 120"/>
                  <a:gd name="T9" fmla="*/ 0 h 49"/>
                  <a:gd name="T10" fmla="*/ 0 w 120"/>
                  <a:gd name="T11" fmla="*/ 0 h 49"/>
                  <a:gd name="T12" fmla="*/ 0 w 120"/>
                  <a:gd name="T13" fmla="*/ 0 h 49"/>
                  <a:gd name="T14" fmla="*/ 0 w 120"/>
                  <a:gd name="T15" fmla="*/ 0 h 49"/>
                  <a:gd name="T16" fmla="*/ 0 w 120"/>
                  <a:gd name="T17" fmla="*/ 0 h 49"/>
                  <a:gd name="T18" fmla="*/ 0 w 120"/>
                  <a:gd name="T19" fmla="*/ 0 h 49"/>
                  <a:gd name="T20" fmla="*/ 0 w 120"/>
                  <a:gd name="T21" fmla="*/ 0 h 49"/>
                  <a:gd name="T22" fmla="*/ 0 w 120"/>
                  <a:gd name="T23" fmla="*/ 0 h 49"/>
                  <a:gd name="T24" fmla="*/ 0 w 120"/>
                  <a:gd name="T25" fmla="*/ 0 h 49"/>
                  <a:gd name="T26" fmla="*/ 0 w 120"/>
                  <a:gd name="T27" fmla="*/ 0 h 49"/>
                  <a:gd name="T28" fmla="*/ 0 w 120"/>
                  <a:gd name="T29" fmla="*/ 0 h 49"/>
                  <a:gd name="T30" fmla="*/ 0 w 120"/>
                  <a:gd name="T31" fmla="*/ 0 h 49"/>
                  <a:gd name="T32" fmla="*/ 0 w 120"/>
                  <a:gd name="T33" fmla="*/ 0 h 49"/>
                  <a:gd name="T34" fmla="*/ 0 w 120"/>
                  <a:gd name="T35" fmla="*/ 0 h 49"/>
                  <a:gd name="T36" fmla="*/ 0 w 120"/>
                  <a:gd name="T37" fmla="*/ 0 h 49"/>
                  <a:gd name="T38" fmla="*/ 0 w 120"/>
                  <a:gd name="T39" fmla="*/ 0 h 49"/>
                  <a:gd name="T40" fmla="*/ 0 w 120"/>
                  <a:gd name="T41" fmla="*/ 0 h 49"/>
                  <a:gd name="T42" fmla="*/ 0 w 120"/>
                  <a:gd name="T43" fmla="*/ 0 h 49"/>
                  <a:gd name="T44" fmla="*/ 0 w 120"/>
                  <a:gd name="T45" fmla="*/ 0 h 49"/>
                  <a:gd name="T46" fmla="*/ 0 w 120"/>
                  <a:gd name="T47" fmla="*/ 0 h 49"/>
                  <a:gd name="T48" fmla="*/ 0 w 120"/>
                  <a:gd name="T49" fmla="*/ 0 h 49"/>
                  <a:gd name="T50" fmla="*/ 0 w 120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0"/>
                  <a:gd name="T79" fmla="*/ 0 h 49"/>
                  <a:gd name="T80" fmla="*/ 120 w 120"/>
                  <a:gd name="T81" fmla="*/ 49 h 4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0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0 w 85"/>
                  <a:gd name="T1" fmla="*/ 0 h 61"/>
                  <a:gd name="T2" fmla="*/ 0 w 85"/>
                  <a:gd name="T3" fmla="*/ 0 h 61"/>
                  <a:gd name="T4" fmla="*/ 0 w 85"/>
                  <a:gd name="T5" fmla="*/ 0 h 61"/>
                  <a:gd name="T6" fmla="*/ 0 w 85"/>
                  <a:gd name="T7" fmla="*/ 0 h 61"/>
                  <a:gd name="T8" fmla="*/ 0 w 85"/>
                  <a:gd name="T9" fmla="*/ 0 h 61"/>
                  <a:gd name="T10" fmla="*/ 0 w 85"/>
                  <a:gd name="T11" fmla="*/ 0 h 61"/>
                  <a:gd name="T12" fmla="*/ 0 w 85"/>
                  <a:gd name="T13" fmla="*/ 0 h 61"/>
                  <a:gd name="T14" fmla="*/ 0 w 85"/>
                  <a:gd name="T15" fmla="*/ 0 h 61"/>
                  <a:gd name="T16" fmla="*/ 0 w 85"/>
                  <a:gd name="T17" fmla="*/ 0 h 61"/>
                  <a:gd name="T18" fmla="*/ 0 w 85"/>
                  <a:gd name="T19" fmla="*/ 0 h 61"/>
                  <a:gd name="T20" fmla="*/ 0 w 85"/>
                  <a:gd name="T21" fmla="*/ 0 h 61"/>
                  <a:gd name="T22" fmla="*/ 0 w 85"/>
                  <a:gd name="T23" fmla="*/ 0 h 61"/>
                  <a:gd name="T24" fmla="*/ 0 w 85"/>
                  <a:gd name="T25" fmla="*/ 0 h 61"/>
                  <a:gd name="T26" fmla="*/ 0 w 85"/>
                  <a:gd name="T27" fmla="*/ 0 h 61"/>
                  <a:gd name="T28" fmla="*/ 0 w 85"/>
                  <a:gd name="T29" fmla="*/ 0 h 61"/>
                  <a:gd name="T30" fmla="*/ 0 w 85"/>
                  <a:gd name="T31" fmla="*/ 0 h 61"/>
                  <a:gd name="T32" fmla="*/ 0 w 85"/>
                  <a:gd name="T33" fmla="*/ 0 h 61"/>
                  <a:gd name="T34" fmla="*/ 0 w 85"/>
                  <a:gd name="T35" fmla="*/ 0 h 61"/>
                  <a:gd name="T36" fmla="*/ 0 w 85"/>
                  <a:gd name="T37" fmla="*/ 0 h 61"/>
                  <a:gd name="T38" fmla="*/ 0 w 85"/>
                  <a:gd name="T39" fmla="*/ 0 h 61"/>
                  <a:gd name="T40" fmla="*/ 0 w 85"/>
                  <a:gd name="T41" fmla="*/ 0 h 61"/>
                  <a:gd name="T42" fmla="*/ 0 w 85"/>
                  <a:gd name="T43" fmla="*/ 0 h 61"/>
                  <a:gd name="T44" fmla="*/ 0 w 85"/>
                  <a:gd name="T45" fmla="*/ 0 h 61"/>
                  <a:gd name="T46" fmla="*/ 0 w 85"/>
                  <a:gd name="T47" fmla="*/ 0 h 61"/>
                  <a:gd name="T48" fmla="*/ 0 w 85"/>
                  <a:gd name="T49" fmla="*/ 0 h 61"/>
                  <a:gd name="T50" fmla="*/ 0 w 85"/>
                  <a:gd name="T51" fmla="*/ 0 h 61"/>
                  <a:gd name="T52" fmla="*/ 0 w 85"/>
                  <a:gd name="T53" fmla="*/ 0 h 61"/>
                  <a:gd name="T54" fmla="*/ 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5"/>
                  <a:gd name="T85" fmla="*/ 0 h 61"/>
                  <a:gd name="T86" fmla="*/ 85 w 85"/>
                  <a:gd name="T87" fmla="*/ 61 h 6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1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0 h 19"/>
                  <a:gd name="T2" fmla="*/ 0 w 100"/>
                  <a:gd name="T3" fmla="*/ 0 h 19"/>
                  <a:gd name="T4" fmla="*/ 0 w 100"/>
                  <a:gd name="T5" fmla="*/ 0 h 19"/>
                  <a:gd name="T6" fmla="*/ 0 w 100"/>
                  <a:gd name="T7" fmla="*/ 0 h 19"/>
                  <a:gd name="T8" fmla="*/ 0 w 100"/>
                  <a:gd name="T9" fmla="*/ 0 h 19"/>
                  <a:gd name="T10" fmla="*/ 0 w 100"/>
                  <a:gd name="T11" fmla="*/ 0 h 19"/>
                  <a:gd name="T12" fmla="*/ 0 w 100"/>
                  <a:gd name="T13" fmla="*/ 0 h 19"/>
                  <a:gd name="T14" fmla="*/ 0 w 100"/>
                  <a:gd name="T15" fmla="*/ 0 h 19"/>
                  <a:gd name="T16" fmla="*/ 0 w 100"/>
                  <a:gd name="T17" fmla="*/ 0 h 19"/>
                  <a:gd name="T18" fmla="*/ 0 w 100"/>
                  <a:gd name="T19" fmla="*/ 0 h 19"/>
                  <a:gd name="T20" fmla="*/ 0 w 100"/>
                  <a:gd name="T21" fmla="*/ 0 h 19"/>
                  <a:gd name="T22" fmla="*/ 0 w 100"/>
                  <a:gd name="T23" fmla="*/ 0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0"/>
                  <a:gd name="T37" fmla="*/ 0 h 19"/>
                  <a:gd name="T38" fmla="*/ 100 w 100"/>
                  <a:gd name="T39" fmla="*/ 19 h 1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2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0 h 45"/>
                  <a:gd name="T2" fmla="*/ 0 w 166"/>
                  <a:gd name="T3" fmla="*/ 0 h 45"/>
                  <a:gd name="T4" fmla="*/ 0 w 166"/>
                  <a:gd name="T5" fmla="*/ 0 h 45"/>
                  <a:gd name="T6" fmla="*/ 0 w 166"/>
                  <a:gd name="T7" fmla="*/ 0 h 45"/>
                  <a:gd name="T8" fmla="*/ 0 w 166"/>
                  <a:gd name="T9" fmla="*/ 0 h 45"/>
                  <a:gd name="T10" fmla="*/ 0 w 166"/>
                  <a:gd name="T11" fmla="*/ 0 h 45"/>
                  <a:gd name="T12" fmla="*/ 0 w 166"/>
                  <a:gd name="T13" fmla="*/ 0 h 45"/>
                  <a:gd name="T14" fmla="*/ 0 w 166"/>
                  <a:gd name="T15" fmla="*/ 0 h 45"/>
                  <a:gd name="T16" fmla="*/ 0 w 166"/>
                  <a:gd name="T17" fmla="*/ 0 h 45"/>
                  <a:gd name="T18" fmla="*/ 0 w 166"/>
                  <a:gd name="T19" fmla="*/ 0 h 45"/>
                  <a:gd name="T20" fmla="*/ 0 w 166"/>
                  <a:gd name="T21" fmla="*/ 0 h 45"/>
                  <a:gd name="T22" fmla="*/ 0 w 166"/>
                  <a:gd name="T23" fmla="*/ 0 h 45"/>
                  <a:gd name="T24" fmla="*/ 0 w 166"/>
                  <a:gd name="T25" fmla="*/ 0 h 45"/>
                  <a:gd name="T26" fmla="*/ 0 w 166"/>
                  <a:gd name="T27" fmla="*/ 0 h 45"/>
                  <a:gd name="T28" fmla="*/ 0 w 166"/>
                  <a:gd name="T29" fmla="*/ 0 h 45"/>
                  <a:gd name="T30" fmla="*/ 0 w 166"/>
                  <a:gd name="T31" fmla="*/ 0 h 45"/>
                  <a:gd name="T32" fmla="*/ 0 w 166"/>
                  <a:gd name="T33" fmla="*/ 0 h 45"/>
                  <a:gd name="T34" fmla="*/ 0 w 166"/>
                  <a:gd name="T35" fmla="*/ 0 h 45"/>
                  <a:gd name="T36" fmla="*/ 0 w 166"/>
                  <a:gd name="T37" fmla="*/ 0 h 45"/>
                  <a:gd name="T38" fmla="*/ 0 w 166"/>
                  <a:gd name="T39" fmla="*/ 0 h 45"/>
                  <a:gd name="T40" fmla="*/ 0 w 166"/>
                  <a:gd name="T41" fmla="*/ 0 h 45"/>
                  <a:gd name="T42" fmla="*/ 0 w 166"/>
                  <a:gd name="T43" fmla="*/ 0 h 45"/>
                  <a:gd name="T44" fmla="*/ 0 w 166"/>
                  <a:gd name="T45" fmla="*/ 0 h 45"/>
                  <a:gd name="T46" fmla="*/ 0 w 166"/>
                  <a:gd name="T47" fmla="*/ 0 h 45"/>
                  <a:gd name="T48" fmla="*/ 0 w 166"/>
                  <a:gd name="T49" fmla="*/ 0 h 45"/>
                  <a:gd name="T50" fmla="*/ 0 w 166"/>
                  <a:gd name="T51" fmla="*/ 0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66"/>
                  <a:gd name="T79" fmla="*/ 0 h 45"/>
                  <a:gd name="T80" fmla="*/ 166 w 166"/>
                  <a:gd name="T81" fmla="*/ 45 h 4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3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0 h 25"/>
                  <a:gd name="T4" fmla="*/ 0 w 33"/>
                  <a:gd name="T5" fmla="*/ 0 h 25"/>
                  <a:gd name="T6" fmla="*/ 0 w 33"/>
                  <a:gd name="T7" fmla="*/ 0 h 25"/>
                  <a:gd name="T8" fmla="*/ 0 w 33"/>
                  <a:gd name="T9" fmla="*/ 0 h 25"/>
                  <a:gd name="T10" fmla="*/ 0 w 33"/>
                  <a:gd name="T11" fmla="*/ 0 h 25"/>
                  <a:gd name="T12" fmla="*/ 0 w 33"/>
                  <a:gd name="T13" fmla="*/ 0 h 25"/>
                  <a:gd name="T14" fmla="*/ 0 w 33"/>
                  <a:gd name="T15" fmla="*/ 0 h 25"/>
                  <a:gd name="T16" fmla="*/ 0 w 33"/>
                  <a:gd name="T17" fmla="*/ 0 h 25"/>
                  <a:gd name="T18" fmla="*/ 0 w 33"/>
                  <a:gd name="T19" fmla="*/ 0 h 25"/>
                  <a:gd name="T20" fmla="*/ 0 w 33"/>
                  <a:gd name="T21" fmla="*/ 0 h 25"/>
                  <a:gd name="T22" fmla="*/ 0 w 33"/>
                  <a:gd name="T23" fmla="*/ 0 h 25"/>
                  <a:gd name="T24" fmla="*/ 0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3"/>
                  <a:gd name="T43" fmla="*/ 0 h 25"/>
                  <a:gd name="T44" fmla="*/ 33 w 33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4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0 h 62"/>
                  <a:gd name="T2" fmla="*/ 0 w 48"/>
                  <a:gd name="T3" fmla="*/ 0 h 62"/>
                  <a:gd name="T4" fmla="*/ 0 w 48"/>
                  <a:gd name="T5" fmla="*/ 0 h 62"/>
                  <a:gd name="T6" fmla="*/ 0 w 48"/>
                  <a:gd name="T7" fmla="*/ 0 h 62"/>
                  <a:gd name="T8" fmla="*/ 0 w 48"/>
                  <a:gd name="T9" fmla="*/ 0 h 62"/>
                  <a:gd name="T10" fmla="*/ 0 w 48"/>
                  <a:gd name="T11" fmla="*/ 0 h 62"/>
                  <a:gd name="T12" fmla="*/ 0 w 48"/>
                  <a:gd name="T13" fmla="*/ 0 h 62"/>
                  <a:gd name="T14" fmla="*/ 0 w 48"/>
                  <a:gd name="T15" fmla="*/ 0 h 62"/>
                  <a:gd name="T16" fmla="*/ 0 w 48"/>
                  <a:gd name="T17" fmla="*/ 0 h 62"/>
                  <a:gd name="T18" fmla="*/ 0 w 48"/>
                  <a:gd name="T19" fmla="*/ 0 h 62"/>
                  <a:gd name="T20" fmla="*/ 0 w 48"/>
                  <a:gd name="T21" fmla="*/ 0 h 62"/>
                  <a:gd name="T22" fmla="*/ 0 w 48"/>
                  <a:gd name="T23" fmla="*/ 0 h 62"/>
                  <a:gd name="T24" fmla="*/ 0 w 48"/>
                  <a:gd name="T25" fmla="*/ 0 h 62"/>
                  <a:gd name="T26" fmla="*/ 0 w 48"/>
                  <a:gd name="T27" fmla="*/ 0 h 62"/>
                  <a:gd name="T28" fmla="*/ 0 w 48"/>
                  <a:gd name="T29" fmla="*/ 0 h 62"/>
                  <a:gd name="T30" fmla="*/ 0 w 48"/>
                  <a:gd name="T31" fmla="*/ 0 h 62"/>
                  <a:gd name="T32" fmla="*/ 0 w 48"/>
                  <a:gd name="T33" fmla="*/ 0 h 62"/>
                  <a:gd name="T34" fmla="*/ 0 w 48"/>
                  <a:gd name="T35" fmla="*/ 0 h 62"/>
                  <a:gd name="T36" fmla="*/ 0 w 48"/>
                  <a:gd name="T37" fmla="*/ 0 h 62"/>
                  <a:gd name="T38" fmla="*/ 0 w 48"/>
                  <a:gd name="T39" fmla="*/ 0 h 62"/>
                  <a:gd name="T40" fmla="*/ 0 w 48"/>
                  <a:gd name="T41" fmla="*/ 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8"/>
                  <a:gd name="T64" fmla="*/ 0 h 62"/>
                  <a:gd name="T65" fmla="*/ 48 w 48"/>
                  <a:gd name="T66" fmla="*/ 62 h 6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5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0 w 113"/>
                  <a:gd name="T1" fmla="*/ 0 h 62"/>
                  <a:gd name="T2" fmla="*/ 0 w 113"/>
                  <a:gd name="T3" fmla="*/ 0 h 62"/>
                  <a:gd name="T4" fmla="*/ 0 w 113"/>
                  <a:gd name="T5" fmla="*/ 0 h 62"/>
                  <a:gd name="T6" fmla="*/ 0 w 113"/>
                  <a:gd name="T7" fmla="*/ 0 h 62"/>
                  <a:gd name="T8" fmla="*/ 0 w 113"/>
                  <a:gd name="T9" fmla="*/ 0 h 62"/>
                  <a:gd name="T10" fmla="*/ 0 w 113"/>
                  <a:gd name="T11" fmla="*/ 0 h 62"/>
                  <a:gd name="T12" fmla="*/ 0 w 113"/>
                  <a:gd name="T13" fmla="*/ 0 h 62"/>
                  <a:gd name="T14" fmla="*/ 0 w 113"/>
                  <a:gd name="T15" fmla="*/ 0 h 62"/>
                  <a:gd name="T16" fmla="*/ 0 w 113"/>
                  <a:gd name="T17" fmla="*/ 0 h 62"/>
                  <a:gd name="T18" fmla="*/ 0 w 113"/>
                  <a:gd name="T19" fmla="*/ 0 h 62"/>
                  <a:gd name="T20" fmla="*/ 0 w 113"/>
                  <a:gd name="T21" fmla="*/ 0 h 62"/>
                  <a:gd name="T22" fmla="*/ 0 w 113"/>
                  <a:gd name="T23" fmla="*/ 0 h 62"/>
                  <a:gd name="T24" fmla="*/ 0 w 113"/>
                  <a:gd name="T25" fmla="*/ 0 h 62"/>
                  <a:gd name="T26" fmla="*/ 0 w 113"/>
                  <a:gd name="T27" fmla="*/ 0 h 62"/>
                  <a:gd name="T28" fmla="*/ 0 w 113"/>
                  <a:gd name="T29" fmla="*/ 0 h 62"/>
                  <a:gd name="T30" fmla="*/ 0 w 113"/>
                  <a:gd name="T31" fmla="*/ 0 h 62"/>
                  <a:gd name="T32" fmla="*/ 0 w 113"/>
                  <a:gd name="T33" fmla="*/ 0 h 62"/>
                  <a:gd name="T34" fmla="*/ 0 w 113"/>
                  <a:gd name="T35" fmla="*/ 0 h 62"/>
                  <a:gd name="T36" fmla="*/ 0 w 113"/>
                  <a:gd name="T37" fmla="*/ 0 h 62"/>
                  <a:gd name="T38" fmla="*/ 0 w 113"/>
                  <a:gd name="T39" fmla="*/ 0 h 62"/>
                  <a:gd name="T40" fmla="*/ 0 w 113"/>
                  <a:gd name="T41" fmla="*/ 0 h 62"/>
                  <a:gd name="T42" fmla="*/ 0 w 113"/>
                  <a:gd name="T43" fmla="*/ 0 h 62"/>
                  <a:gd name="T44" fmla="*/ 0 w 113"/>
                  <a:gd name="T45" fmla="*/ 0 h 62"/>
                  <a:gd name="T46" fmla="*/ 0 w 113"/>
                  <a:gd name="T47" fmla="*/ 0 h 62"/>
                  <a:gd name="T48" fmla="*/ 0 w 113"/>
                  <a:gd name="T49" fmla="*/ 0 h 62"/>
                  <a:gd name="T50" fmla="*/ 0 w 113"/>
                  <a:gd name="T51" fmla="*/ 0 h 62"/>
                  <a:gd name="T52" fmla="*/ 0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13"/>
                  <a:gd name="T82" fmla="*/ 0 h 62"/>
                  <a:gd name="T83" fmla="*/ 113 w 113"/>
                  <a:gd name="T84" fmla="*/ 62 h 6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6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0 w 93"/>
                  <a:gd name="T3" fmla="*/ 0 h 50"/>
                  <a:gd name="T4" fmla="*/ 0 w 93"/>
                  <a:gd name="T5" fmla="*/ 0 h 50"/>
                  <a:gd name="T6" fmla="*/ 0 w 93"/>
                  <a:gd name="T7" fmla="*/ 0 h 50"/>
                  <a:gd name="T8" fmla="*/ 0 w 93"/>
                  <a:gd name="T9" fmla="*/ 0 h 50"/>
                  <a:gd name="T10" fmla="*/ 0 w 93"/>
                  <a:gd name="T11" fmla="*/ 0 h 50"/>
                  <a:gd name="T12" fmla="*/ 0 w 93"/>
                  <a:gd name="T13" fmla="*/ 0 h 50"/>
                  <a:gd name="T14" fmla="*/ 0 w 93"/>
                  <a:gd name="T15" fmla="*/ 0 h 50"/>
                  <a:gd name="T16" fmla="*/ 0 w 93"/>
                  <a:gd name="T17" fmla="*/ 0 h 50"/>
                  <a:gd name="T18" fmla="*/ 0 w 93"/>
                  <a:gd name="T19" fmla="*/ 0 h 50"/>
                  <a:gd name="T20" fmla="*/ 0 w 93"/>
                  <a:gd name="T21" fmla="*/ 0 h 50"/>
                  <a:gd name="T22" fmla="*/ 0 w 93"/>
                  <a:gd name="T23" fmla="*/ 0 h 50"/>
                  <a:gd name="T24" fmla="*/ 0 w 93"/>
                  <a:gd name="T25" fmla="*/ 0 h 50"/>
                  <a:gd name="T26" fmla="*/ 0 w 93"/>
                  <a:gd name="T27" fmla="*/ 0 h 50"/>
                  <a:gd name="T28" fmla="*/ 0 w 93"/>
                  <a:gd name="T29" fmla="*/ 0 h 50"/>
                  <a:gd name="T30" fmla="*/ 0 w 93"/>
                  <a:gd name="T31" fmla="*/ 0 h 50"/>
                  <a:gd name="T32" fmla="*/ 0 w 93"/>
                  <a:gd name="T33" fmla="*/ 0 h 50"/>
                  <a:gd name="T34" fmla="*/ 0 w 93"/>
                  <a:gd name="T35" fmla="*/ 0 h 50"/>
                  <a:gd name="T36" fmla="*/ 0 w 93"/>
                  <a:gd name="T37" fmla="*/ 0 h 50"/>
                  <a:gd name="T38" fmla="*/ 0 w 93"/>
                  <a:gd name="T39" fmla="*/ 0 h 50"/>
                  <a:gd name="T40" fmla="*/ 0 w 93"/>
                  <a:gd name="T41" fmla="*/ 0 h 50"/>
                  <a:gd name="T42" fmla="*/ 0 w 93"/>
                  <a:gd name="T43" fmla="*/ 0 h 50"/>
                  <a:gd name="T44" fmla="*/ 0 w 93"/>
                  <a:gd name="T45" fmla="*/ 0 h 50"/>
                  <a:gd name="T46" fmla="*/ 0 w 93"/>
                  <a:gd name="T47" fmla="*/ 0 h 50"/>
                  <a:gd name="T48" fmla="*/ 0 w 93"/>
                  <a:gd name="T49" fmla="*/ 0 h 50"/>
                  <a:gd name="T50" fmla="*/ 0 w 93"/>
                  <a:gd name="T51" fmla="*/ 0 h 50"/>
                  <a:gd name="T52" fmla="*/ 0 w 93"/>
                  <a:gd name="T53" fmla="*/ 0 h 50"/>
                  <a:gd name="T54" fmla="*/ 0 w 93"/>
                  <a:gd name="T55" fmla="*/ 0 h 50"/>
                  <a:gd name="T56" fmla="*/ 0 w 93"/>
                  <a:gd name="T57" fmla="*/ 0 h 50"/>
                  <a:gd name="T58" fmla="*/ 0 w 93"/>
                  <a:gd name="T59" fmla="*/ 0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93"/>
                  <a:gd name="T94" fmla="*/ 0 h 50"/>
                  <a:gd name="T95" fmla="*/ 93 w 93"/>
                  <a:gd name="T96" fmla="*/ 50 h 5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7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0 w 1029"/>
                  <a:gd name="T1" fmla="*/ 0 h 604"/>
                  <a:gd name="T2" fmla="*/ 0 w 1029"/>
                  <a:gd name="T3" fmla="*/ 0 h 604"/>
                  <a:gd name="T4" fmla="*/ 0 w 1029"/>
                  <a:gd name="T5" fmla="*/ 0 h 604"/>
                  <a:gd name="T6" fmla="*/ 0 w 1029"/>
                  <a:gd name="T7" fmla="*/ 0 h 604"/>
                  <a:gd name="T8" fmla="*/ 0 w 1029"/>
                  <a:gd name="T9" fmla="*/ 0 h 604"/>
                  <a:gd name="T10" fmla="*/ 0 w 1029"/>
                  <a:gd name="T11" fmla="*/ 0 h 604"/>
                  <a:gd name="T12" fmla="*/ 0 w 1029"/>
                  <a:gd name="T13" fmla="*/ 0 h 604"/>
                  <a:gd name="T14" fmla="*/ 0 w 1029"/>
                  <a:gd name="T15" fmla="*/ 0 h 604"/>
                  <a:gd name="T16" fmla="*/ 0 w 1029"/>
                  <a:gd name="T17" fmla="*/ 0 h 604"/>
                  <a:gd name="T18" fmla="*/ 0 w 1029"/>
                  <a:gd name="T19" fmla="*/ 0 h 604"/>
                  <a:gd name="T20" fmla="*/ 0 w 1029"/>
                  <a:gd name="T21" fmla="*/ 0 h 604"/>
                  <a:gd name="T22" fmla="*/ 0 w 1029"/>
                  <a:gd name="T23" fmla="*/ 0 h 604"/>
                  <a:gd name="T24" fmla="*/ 0 w 1029"/>
                  <a:gd name="T25" fmla="*/ 0 h 604"/>
                  <a:gd name="T26" fmla="*/ 0 w 1029"/>
                  <a:gd name="T27" fmla="*/ 0 h 604"/>
                  <a:gd name="T28" fmla="*/ 0 w 1029"/>
                  <a:gd name="T29" fmla="*/ 0 h 604"/>
                  <a:gd name="T30" fmla="*/ 0 w 1029"/>
                  <a:gd name="T31" fmla="*/ 0 h 604"/>
                  <a:gd name="T32" fmla="*/ 0 w 1029"/>
                  <a:gd name="T33" fmla="*/ 0 h 604"/>
                  <a:gd name="T34" fmla="*/ 0 w 1029"/>
                  <a:gd name="T35" fmla="*/ 0 h 604"/>
                  <a:gd name="T36" fmla="*/ 0 w 1029"/>
                  <a:gd name="T37" fmla="*/ 0 h 604"/>
                  <a:gd name="T38" fmla="*/ 0 w 1029"/>
                  <a:gd name="T39" fmla="*/ 0 h 604"/>
                  <a:gd name="T40" fmla="*/ 0 w 1029"/>
                  <a:gd name="T41" fmla="*/ 0 h 604"/>
                  <a:gd name="T42" fmla="*/ 0 w 1029"/>
                  <a:gd name="T43" fmla="*/ 0 h 604"/>
                  <a:gd name="T44" fmla="*/ 0 w 1029"/>
                  <a:gd name="T45" fmla="*/ 0 h 604"/>
                  <a:gd name="T46" fmla="*/ 0 w 1029"/>
                  <a:gd name="T47" fmla="*/ 0 h 604"/>
                  <a:gd name="T48" fmla="*/ 0 w 1029"/>
                  <a:gd name="T49" fmla="*/ 0 h 604"/>
                  <a:gd name="T50" fmla="*/ 0 w 1029"/>
                  <a:gd name="T51" fmla="*/ 0 h 604"/>
                  <a:gd name="T52" fmla="*/ 0 w 1029"/>
                  <a:gd name="T53" fmla="*/ 0 h 604"/>
                  <a:gd name="T54" fmla="*/ 0 w 1029"/>
                  <a:gd name="T55" fmla="*/ 0 h 604"/>
                  <a:gd name="T56" fmla="*/ 0 w 1029"/>
                  <a:gd name="T57" fmla="*/ 0 h 604"/>
                  <a:gd name="T58" fmla="*/ 0 w 1029"/>
                  <a:gd name="T59" fmla="*/ 0 h 604"/>
                  <a:gd name="T60" fmla="*/ 0 w 1029"/>
                  <a:gd name="T61" fmla="*/ 0 h 604"/>
                  <a:gd name="T62" fmla="*/ 0 w 1029"/>
                  <a:gd name="T63" fmla="*/ 0 h 604"/>
                  <a:gd name="T64" fmla="*/ 0 w 1029"/>
                  <a:gd name="T65" fmla="*/ 0 h 604"/>
                  <a:gd name="T66" fmla="*/ 0 w 1029"/>
                  <a:gd name="T67" fmla="*/ 0 h 604"/>
                  <a:gd name="T68" fmla="*/ 0 w 1029"/>
                  <a:gd name="T69" fmla="*/ 0 h 604"/>
                  <a:gd name="T70" fmla="*/ 0 w 1029"/>
                  <a:gd name="T71" fmla="*/ 0 h 604"/>
                  <a:gd name="T72" fmla="*/ 0 w 1029"/>
                  <a:gd name="T73" fmla="*/ 0 h 604"/>
                  <a:gd name="T74" fmla="*/ 0 w 1029"/>
                  <a:gd name="T75" fmla="*/ 0 h 604"/>
                  <a:gd name="T76" fmla="*/ 0 w 1029"/>
                  <a:gd name="T77" fmla="*/ 0 h 604"/>
                  <a:gd name="T78" fmla="*/ 0 w 1029"/>
                  <a:gd name="T79" fmla="*/ 0 h 604"/>
                  <a:gd name="T80" fmla="*/ 0 w 1029"/>
                  <a:gd name="T81" fmla="*/ 0 h 604"/>
                  <a:gd name="T82" fmla="*/ 0 w 1029"/>
                  <a:gd name="T83" fmla="*/ 0 h 604"/>
                  <a:gd name="T84" fmla="*/ 0 w 1029"/>
                  <a:gd name="T85" fmla="*/ 0 h 604"/>
                  <a:gd name="T86" fmla="*/ 0 w 1029"/>
                  <a:gd name="T87" fmla="*/ 0 h 604"/>
                  <a:gd name="T88" fmla="*/ 0 w 1029"/>
                  <a:gd name="T89" fmla="*/ 0 h 604"/>
                  <a:gd name="T90" fmla="*/ 0 w 1029"/>
                  <a:gd name="T91" fmla="*/ 0 h 604"/>
                  <a:gd name="T92" fmla="*/ 0 w 1029"/>
                  <a:gd name="T93" fmla="*/ 0 h 604"/>
                  <a:gd name="T94" fmla="*/ 0 w 1029"/>
                  <a:gd name="T95" fmla="*/ 0 h 604"/>
                  <a:gd name="T96" fmla="*/ 0 w 1029"/>
                  <a:gd name="T97" fmla="*/ 0 h 604"/>
                  <a:gd name="T98" fmla="*/ 0 w 1029"/>
                  <a:gd name="T99" fmla="*/ 0 h 604"/>
                  <a:gd name="T100" fmla="*/ 0 w 1029"/>
                  <a:gd name="T101" fmla="*/ 0 h 604"/>
                  <a:gd name="T102" fmla="*/ 0 w 1029"/>
                  <a:gd name="T103" fmla="*/ 0 h 604"/>
                  <a:gd name="T104" fmla="*/ 0 w 1029"/>
                  <a:gd name="T105" fmla="*/ 0 h 604"/>
                  <a:gd name="T106" fmla="*/ 0 w 1029"/>
                  <a:gd name="T107" fmla="*/ 0 h 604"/>
                  <a:gd name="T108" fmla="*/ 0 w 1029"/>
                  <a:gd name="T109" fmla="*/ 0 h 604"/>
                  <a:gd name="T110" fmla="*/ 0 w 1029"/>
                  <a:gd name="T111" fmla="*/ 0 h 604"/>
                  <a:gd name="T112" fmla="*/ 0 w 1029"/>
                  <a:gd name="T113" fmla="*/ 0 h 604"/>
                  <a:gd name="T114" fmla="*/ 0 w 1029"/>
                  <a:gd name="T115" fmla="*/ 0 h 604"/>
                  <a:gd name="T116" fmla="*/ 0 w 1029"/>
                  <a:gd name="T117" fmla="*/ 0 h 604"/>
                  <a:gd name="T118" fmla="*/ 0 w 1029"/>
                  <a:gd name="T119" fmla="*/ 0 h 604"/>
                  <a:gd name="T120" fmla="*/ 0 w 1029"/>
                  <a:gd name="T121" fmla="*/ 0 h 604"/>
                  <a:gd name="T122" fmla="*/ 0 w 1029"/>
                  <a:gd name="T123" fmla="*/ 0 h 604"/>
                  <a:gd name="T124" fmla="*/ 0 w 1029"/>
                  <a:gd name="T125" fmla="*/ 0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29"/>
                  <a:gd name="T190" fmla="*/ 0 h 604"/>
                  <a:gd name="T191" fmla="*/ 1029 w 1029"/>
                  <a:gd name="T192" fmla="*/ 604 h 60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8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0 w 1268"/>
                  <a:gd name="T1" fmla="*/ 0 h 321"/>
                  <a:gd name="T2" fmla="*/ 0 w 1268"/>
                  <a:gd name="T3" fmla="*/ 0 h 321"/>
                  <a:gd name="T4" fmla="*/ 0 w 1268"/>
                  <a:gd name="T5" fmla="*/ 0 h 321"/>
                  <a:gd name="T6" fmla="*/ 0 w 1268"/>
                  <a:gd name="T7" fmla="*/ 0 h 321"/>
                  <a:gd name="T8" fmla="*/ 0 w 1268"/>
                  <a:gd name="T9" fmla="*/ 0 h 321"/>
                  <a:gd name="T10" fmla="*/ 0 w 1268"/>
                  <a:gd name="T11" fmla="*/ 0 h 321"/>
                  <a:gd name="T12" fmla="*/ 0 w 1268"/>
                  <a:gd name="T13" fmla="*/ 0 h 321"/>
                  <a:gd name="T14" fmla="*/ 0 w 1268"/>
                  <a:gd name="T15" fmla="*/ 0 h 321"/>
                  <a:gd name="T16" fmla="*/ 0 w 1268"/>
                  <a:gd name="T17" fmla="*/ 0 h 321"/>
                  <a:gd name="T18" fmla="*/ 0 w 1268"/>
                  <a:gd name="T19" fmla="*/ 0 h 321"/>
                  <a:gd name="T20" fmla="*/ 0 w 1268"/>
                  <a:gd name="T21" fmla="*/ 0 h 321"/>
                  <a:gd name="T22" fmla="*/ 0 w 1268"/>
                  <a:gd name="T23" fmla="*/ 0 h 321"/>
                  <a:gd name="T24" fmla="*/ 0 w 1268"/>
                  <a:gd name="T25" fmla="*/ 0 h 321"/>
                  <a:gd name="T26" fmla="*/ 0 w 1268"/>
                  <a:gd name="T27" fmla="*/ 0 h 321"/>
                  <a:gd name="T28" fmla="*/ 0 w 1268"/>
                  <a:gd name="T29" fmla="*/ 0 h 321"/>
                  <a:gd name="T30" fmla="*/ 0 w 1268"/>
                  <a:gd name="T31" fmla="*/ 0 h 321"/>
                  <a:gd name="T32" fmla="*/ 0 w 1268"/>
                  <a:gd name="T33" fmla="*/ 0 h 321"/>
                  <a:gd name="T34" fmla="*/ 0 w 1268"/>
                  <a:gd name="T35" fmla="*/ 0 h 321"/>
                  <a:gd name="T36" fmla="*/ 0 w 1268"/>
                  <a:gd name="T37" fmla="*/ 0 h 321"/>
                  <a:gd name="T38" fmla="*/ 0 w 1268"/>
                  <a:gd name="T39" fmla="*/ 0 h 321"/>
                  <a:gd name="T40" fmla="*/ 0 w 1268"/>
                  <a:gd name="T41" fmla="*/ 0 h 321"/>
                  <a:gd name="T42" fmla="*/ 0 w 1268"/>
                  <a:gd name="T43" fmla="*/ 0 h 321"/>
                  <a:gd name="T44" fmla="*/ 0 w 1268"/>
                  <a:gd name="T45" fmla="*/ 0 h 321"/>
                  <a:gd name="T46" fmla="*/ 0 w 1268"/>
                  <a:gd name="T47" fmla="*/ 0 h 321"/>
                  <a:gd name="T48" fmla="*/ 0 w 1268"/>
                  <a:gd name="T49" fmla="*/ 0 h 321"/>
                  <a:gd name="T50" fmla="*/ 0 w 1268"/>
                  <a:gd name="T51" fmla="*/ 0 h 321"/>
                  <a:gd name="T52" fmla="*/ 0 w 1268"/>
                  <a:gd name="T53" fmla="*/ 0 h 321"/>
                  <a:gd name="T54" fmla="*/ 0 w 1268"/>
                  <a:gd name="T55" fmla="*/ 0 h 321"/>
                  <a:gd name="T56" fmla="*/ 0 w 1268"/>
                  <a:gd name="T57" fmla="*/ 0 h 321"/>
                  <a:gd name="T58" fmla="*/ 0 w 1268"/>
                  <a:gd name="T59" fmla="*/ 0 h 321"/>
                  <a:gd name="T60" fmla="*/ 0 w 1268"/>
                  <a:gd name="T61" fmla="*/ 0 h 321"/>
                  <a:gd name="T62" fmla="*/ 0 w 1268"/>
                  <a:gd name="T63" fmla="*/ 0 h 321"/>
                  <a:gd name="T64" fmla="*/ 0 w 1268"/>
                  <a:gd name="T65" fmla="*/ 0 h 321"/>
                  <a:gd name="T66" fmla="*/ 0 w 1268"/>
                  <a:gd name="T67" fmla="*/ 0 h 321"/>
                  <a:gd name="T68" fmla="*/ 0 w 1268"/>
                  <a:gd name="T69" fmla="*/ 0 h 321"/>
                  <a:gd name="T70" fmla="*/ 0 w 1268"/>
                  <a:gd name="T71" fmla="*/ 0 h 321"/>
                  <a:gd name="T72" fmla="*/ 0 w 1268"/>
                  <a:gd name="T73" fmla="*/ 0 h 321"/>
                  <a:gd name="T74" fmla="*/ 0 w 1268"/>
                  <a:gd name="T75" fmla="*/ 0 h 321"/>
                  <a:gd name="T76" fmla="*/ 0 w 1268"/>
                  <a:gd name="T77" fmla="*/ 0 h 321"/>
                  <a:gd name="T78" fmla="*/ 0 w 1268"/>
                  <a:gd name="T79" fmla="*/ 0 h 321"/>
                  <a:gd name="T80" fmla="*/ 0 w 1268"/>
                  <a:gd name="T81" fmla="*/ 0 h 321"/>
                  <a:gd name="T82" fmla="*/ 0 w 1268"/>
                  <a:gd name="T83" fmla="*/ 0 h 321"/>
                  <a:gd name="T84" fmla="*/ 0 w 1268"/>
                  <a:gd name="T85" fmla="*/ 0 h 321"/>
                  <a:gd name="T86" fmla="*/ 0 w 1268"/>
                  <a:gd name="T87" fmla="*/ 0 h 321"/>
                  <a:gd name="T88" fmla="*/ 0 w 1268"/>
                  <a:gd name="T89" fmla="*/ 0 h 321"/>
                  <a:gd name="T90" fmla="*/ 0 w 1268"/>
                  <a:gd name="T91" fmla="*/ 0 h 321"/>
                  <a:gd name="T92" fmla="*/ 0 w 1268"/>
                  <a:gd name="T93" fmla="*/ 0 h 321"/>
                  <a:gd name="T94" fmla="*/ 0 w 1268"/>
                  <a:gd name="T95" fmla="*/ 0 h 321"/>
                  <a:gd name="T96" fmla="*/ 0 w 1268"/>
                  <a:gd name="T97" fmla="*/ 0 h 321"/>
                  <a:gd name="T98" fmla="*/ 0 w 1268"/>
                  <a:gd name="T99" fmla="*/ 0 h 321"/>
                  <a:gd name="T100" fmla="*/ 0 w 1268"/>
                  <a:gd name="T101" fmla="*/ 0 h 321"/>
                  <a:gd name="T102" fmla="*/ 0 w 1268"/>
                  <a:gd name="T103" fmla="*/ 0 h 321"/>
                  <a:gd name="T104" fmla="*/ 0 w 1268"/>
                  <a:gd name="T105" fmla="*/ 0 h 321"/>
                  <a:gd name="T106" fmla="*/ 0 w 1268"/>
                  <a:gd name="T107" fmla="*/ 0 h 321"/>
                  <a:gd name="T108" fmla="*/ 0 w 1268"/>
                  <a:gd name="T109" fmla="*/ 0 h 321"/>
                  <a:gd name="T110" fmla="*/ 0 w 1268"/>
                  <a:gd name="T111" fmla="*/ 0 h 321"/>
                  <a:gd name="T112" fmla="*/ 0 w 1268"/>
                  <a:gd name="T113" fmla="*/ 0 h 321"/>
                  <a:gd name="T114" fmla="*/ 0 w 1268"/>
                  <a:gd name="T115" fmla="*/ 0 h 321"/>
                  <a:gd name="T116" fmla="*/ 0 w 1268"/>
                  <a:gd name="T117" fmla="*/ 0 h 321"/>
                  <a:gd name="T118" fmla="*/ 0 w 1268"/>
                  <a:gd name="T119" fmla="*/ 0 h 321"/>
                  <a:gd name="T120" fmla="*/ 0 w 1268"/>
                  <a:gd name="T121" fmla="*/ 0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268"/>
                  <a:gd name="T184" fmla="*/ 0 h 321"/>
                  <a:gd name="T185" fmla="*/ 1268 w 1268"/>
                  <a:gd name="T186" fmla="*/ 321 h 32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9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0 h 117"/>
                  <a:gd name="T4" fmla="*/ 0 w 160"/>
                  <a:gd name="T5" fmla="*/ 0 h 117"/>
                  <a:gd name="T6" fmla="*/ 0 w 160"/>
                  <a:gd name="T7" fmla="*/ 0 h 117"/>
                  <a:gd name="T8" fmla="*/ 0 w 160"/>
                  <a:gd name="T9" fmla="*/ 0 h 117"/>
                  <a:gd name="T10" fmla="*/ 0 w 160"/>
                  <a:gd name="T11" fmla="*/ 0 h 117"/>
                  <a:gd name="T12" fmla="*/ 0 w 160"/>
                  <a:gd name="T13" fmla="*/ 0 h 117"/>
                  <a:gd name="T14" fmla="*/ 0 w 160"/>
                  <a:gd name="T15" fmla="*/ 0 h 117"/>
                  <a:gd name="T16" fmla="*/ 0 w 160"/>
                  <a:gd name="T17" fmla="*/ 0 h 117"/>
                  <a:gd name="T18" fmla="*/ 0 w 160"/>
                  <a:gd name="T19" fmla="*/ 0 h 117"/>
                  <a:gd name="T20" fmla="*/ 0 w 160"/>
                  <a:gd name="T21" fmla="*/ 0 h 117"/>
                  <a:gd name="T22" fmla="*/ 0 w 160"/>
                  <a:gd name="T23" fmla="*/ 0 h 117"/>
                  <a:gd name="T24" fmla="*/ 0 w 160"/>
                  <a:gd name="T25" fmla="*/ 0 h 117"/>
                  <a:gd name="T26" fmla="*/ 0 w 160"/>
                  <a:gd name="T27" fmla="*/ 0 h 117"/>
                  <a:gd name="T28" fmla="*/ 0 w 160"/>
                  <a:gd name="T29" fmla="*/ 0 h 117"/>
                  <a:gd name="T30" fmla="*/ 0 w 160"/>
                  <a:gd name="T31" fmla="*/ 0 h 117"/>
                  <a:gd name="T32" fmla="*/ 0 w 160"/>
                  <a:gd name="T33" fmla="*/ 0 h 117"/>
                  <a:gd name="T34" fmla="*/ 0 w 160"/>
                  <a:gd name="T35" fmla="*/ 0 h 117"/>
                  <a:gd name="T36" fmla="*/ 0 w 160"/>
                  <a:gd name="T37" fmla="*/ 0 h 117"/>
                  <a:gd name="T38" fmla="*/ 0 w 160"/>
                  <a:gd name="T39" fmla="*/ 0 h 117"/>
                  <a:gd name="T40" fmla="*/ 0 w 160"/>
                  <a:gd name="T41" fmla="*/ 0 h 117"/>
                  <a:gd name="T42" fmla="*/ 0 w 160"/>
                  <a:gd name="T43" fmla="*/ 0 h 117"/>
                  <a:gd name="T44" fmla="*/ 0 w 160"/>
                  <a:gd name="T45" fmla="*/ 0 h 117"/>
                  <a:gd name="T46" fmla="*/ 0 w 160"/>
                  <a:gd name="T47" fmla="*/ 0 h 117"/>
                  <a:gd name="T48" fmla="*/ 0 w 160"/>
                  <a:gd name="T49" fmla="*/ 0 h 117"/>
                  <a:gd name="T50" fmla="*/ 0 w 160"/>
                  <a:gd name="T51" fmla="*/ 0 h 117"/>
                  <a:gd name="T52" fmla="*/ 0 w 160"/>
                  <a:gd name="T53" fmla="*/ 0 h 117"/>
                  <a:gd name="T54" fmla="*/ 0 w 160"/>
                  <a:gd name="T55" fmla="*/ 0 h 117"/>
                  <a:gd name="T56" fmla="*/ 0 w 160"/>
                  <a:gd name="T57" fmla="*/ 0 h 117"/>
                  <a:gd name="T58" fmla="*/ 0 w 160"/>
                  <a:gd name="T59" fmla="*/ 0 h 117"/>
                  <a:gd name="T60" fmla="*/ 0 w 160"/>
                  <a:gd name="T61" fmla="*/ 0 h 117"/>
                  <a:gd name="T62" fmla="*/ 0 w 160"/>
                  <a:gd name="T63" fmla="*/ 0 h 117"/>
                  <a:gd name="T64" fmla="*/ 0 w 160"/>
                  <a:gd name="T65" fmla="*/ 0 h 117"/>
                  <a:gd name="T66" fmla="*/ 0 w 160"/>
                  <a:gd name="T67" fmla="*/ 0 h 117"/>
                  <a:gd name="T68" fmla="*/ 0 w 160"/>
                  <a:gd name="T69" fmla="*/ 0 h 117"/>
                  <a:gd name="T70" fmla="*/ 0 w 160"/>
                  <a:gd name="T71" fmla="*/ 0 h 117"/>
                  <a:gd name="T72" fmla="*/ 0 w 160"/>
                  <a:gd name="T73" fmla="*/ 0 h 117"/>
                  <a:gd name="T74" fmla="*/ 0 w 160"/>
                  <a:gd name="T75" fmla="*/ 0 h 117"/>
                  <a:gd name="T76" fmla="*/ 0 w 160"/>
                  <a:gd name="T77" fmla="*/ 0 h 117"/>
                  <a:gd name="T78" fmla="*/ 0 w 160"/>
                  <a:gd name="T79" fmla="*/ 0 h 117"/>
                  <a:gd name="T80" fmla="*/ 0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60"/>
                  <a:gd name="T127" fmla="*/ 0 h 117"/>
                  <a:gd name="T128" fmla="*/ 160 w 160"/>
                  <a:gd name="T129" fmla="*/ 117 h 117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0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0 w 80"/>
                  <a:gd name="T1" fmla="*/ 0 h 141"/>
                  <a:gd name="T2" fmla="*/ 0 w 80"/>
                  <a:gd name="T3" fmla="*/ 0 h 141"/>
                  <a:gd name="T4" fmla="*/ 0 w 80"/>
                  <a:gd name="T5" fmla="*/ 0 h 141"/>
                  <a:gd name="T6" fmla="*/ 0 w 80"/>
                  <a:gd name="T7" fmla="*/ 0 h 141"/>
                  <a:gd name="T8" fmla="*/ 0 w 80"/>
                  <a:gd name="T9" fmla="*/ 0 h 141"/>
                  <a:gd name="T10" fmla="*/ 0 w 80"/>
                  <a:gd name="T11" fmla="*/ 0 h 141"/>
                  <a:gd name="T12" fmla="*/ 0 w 80"/>
                  <a:gd name="T13" fmla="*/ 0 h 141"/>
                  <a:gd name="T14" fmla="*/ 0 w 80"/>
                  <a:gd name="T15" fmla="*/ 0 h 141"/>
                  <a:gd name="T16" fmla="*/ 0 w 80"/>
                  <a:gd name="T17" fmla="*/ 0 h 141"/>
                  <a:gd name="T18" fmla="*/ 0 w 80"/>
                  <a:gd name="T19" fmla="*/ 0 h 141"/>
                  <a:gd name="T20" fmla="*/ 0 w 80"/>
                  <a:gd name="T21" fmla="*/ 0 h 141"/>
                  <a:gd name="T22" fmla="*/ 0 w 80"/>
                  <a:gd name="T23" fmla="*/ 0 h 141"/>
                  <a:gd name="T24" fmla="*/ 0 w 80"/>
                  <a:gd name="T25" fmla="*/ 0 h 141"/>
                  <a:gd name="T26" fmla="*/ 0 w 80"/>
                  <a:gd name="T27" fmla="*/ 0 h 141"/>
                  <a:gd name="T28" fmla="*/ 0 w 80"/>
                  <a:gd name="T29" fmla="*/ 0 h 141"/>
                  <a:gd name="T30" fmla="*/ 0 w 80"/>
                  <a:gd name="T31" fmla="*/ 0 h 141"/>
                  <a:gd name="T32" fmla="*/ 0 w 80"/>
                  <a:gd name="T33" fmla="*/ 0 h 141"/>
                  <a:gd name="T34" fmla="*/ 0 w 80"/>
                  <a:gd name="T35" fmla="*/ 0 h 141"/>
                  <a:gd name="T36" fmla="*/ 0 w 80"/>
                  <a:gd name="T37" fmla="*/ 0 h 141"/>
                  <a:gd name="T38" fmla="*/ 0 w 80"/>
                  <a:gd name="T39" fmla="*/ 0 h 141"/>
                  <a:gd name="T40" fmla="*/ 0 w 80"/>
                  <a:gd name="T41" fmla="*/ 0 h 141"/>
                  <a:gd name="T42" fmla="*/ 0 w 80"/>
                  <a:gd name="T43" fmla="*/ 0 h 141"/>
                  <a:gd name="T44" fmla="*/ 0 w 80"/>
                  <a:gd name="T45" fmla="*/ 0 h 141"/>
                  <a:gd name="T46" fmla="*/ 0 w 80"/>
                  <a:gd name="T47" fmla="*/ 0 h 141"/>
                  <a:gd name="T48" fmla="*/ 0 w 80"/>
                  <a:gd name="T49" fmla="*/ 0 h 141"/>
                  <a:gd name="T50" fmla="*/ 0 w 80"/>
                  <a:gd name="T51" fmla="*/ 0 h 141"/>
                  <a:gd name="T52" fmla="*/ 0 w 80"/>
                  <a:gd name="T53" fmla="*/ 0 h 141"/>
                  <a:gd name="T54" fmla="*/ 0 w 80"/>
                  <a:gd name="T55" fmla="*/ 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0"/>
                  <a:gd name="T85" fmla="*/ 0 h 141"/>
                  <a:gd name="T86" fmla="*/ 80 w 80"/>
                  <a:gd name="T87" fmla="*/ 141 h 14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1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0 h 124"/>
                  <a:gd name="T2" fmla="*/ 0 w 259"/>
                  <a:gd name="T3" fmla="*/ 0 h 124"/>
                  <a:gd name="T4" fmla="*/ 0 w 259"/>
                  <a:gd name="T5" fmla="*/ 0 h 124"/>
                  <a:gd name="T6" fmla="*/ 0 w 259"/>
                  <a:gd name="T7" fmla="*/ 0 h 124"/>
                  <a:gd name="T8" fmla="*/ 0 w 259"/>
                  <a:gd name="T9" fmla="*/ 0 h 124"/>
                  <a:gd name="T10" fmla="*/ 0 w 259"/>
                  <a:gd name="T11" fmla="*/ 0 h 124"/>
                  <a:gd name="T12" fmla="*/ 0 w 259"/>
                  <a:gd name="T13" fmla="*/ 0 h 124"/>
                  <a:gd name="T14" fmla="*/ 0 w 259"/>
                  <a:gd name="T15" fmla="*/ 0 h 124"/>
                  <a:gd name="T16" fmla="*/ 0 w 259"/>
                  <a:gd name="T17" fmla="*/ 0 h 124"/>
                  <a:gd name="T18" fmla="*/ 0 w 259"/>
                  <a:gd name="T19" fmla="*/ 0 h 124"/>
                  <a:gd name="T20" fmla="*/ 0 w 259"/>
                  <a:gd name="T21" fmla="*/ 0 h 124"/>
                  <a:gd name="T22" fmla="*/ 0 w 259"/>
                  <a:gd name="T23" fmla="*/ 0 h 124"/>
                  <a:gd name="T24" fmla="*/ 0 w 259"/>
                  <a:gd name="T25" fmla="*/ 0 h 124"/>
                  <a:gd name="T26" fmla="*/ 0 w 259"/>
                  <a:gd name="T27" fmla="*/ 0 h 124"/>
                  <a:gd name="T28" fmla="*/ 0 w 259"/>
                  <a:gd name="T29" fmla="*/ 0 h 124"/>
                  <a:gd name="T30" fmla="*/ 0 w 259"/>
                  <a:gd name="T31" fmla="*/ 0 h 124"/>
                  <a:gd name="T32" fmla="*/ 0 w 259"/>
                  <a:gd name="T33" fmla="*/ 0 h 124"/>
                  <a:gd name="T34" fmla="*/ 0 w 259"/>
                  <a:gd name="T35" fmla="*/ 0 h 124"/>
                  <a:gd name="T36" fmla="*/ 0 w 259"/>
                  <a:gd name="T37" fmla="*/ 0 h 124"/>
                  <a:gd name="T38" fmla="*/ 0 w 259"/>
                  <a:gd name="T39" fmla="*/ 0 h 124"/>
                  <a:gd name="T40" fmla="*/ 0 w 259"/>
                  <a:gd name="T41" fmla="*/ 0 h 124"/>
                  <a:gd name="T42" fmla="*/ 0 w 259"/>
                  <a:gd name="T43" fmla="*/ 0 h 124"/>
                  <a:gd name="T44" fmla="*/ 0 w 259"/>
                  <a:gd name="T45" fmla="*/ 0 h 124"/>
                  <a:gd name="T46" fmla="*/ 0 w 259"/>
                  <a:gd name="T47" fmla="*/ 0 h 124"/>
                  <a:gd name="T48" fmla="*/ 0 w 259"/>
                  <a:gd name="T49" fmla="*/ 0 h 124"/>
                  <a:gd name="T50" fmla="*/ 0 w 259"/>
                  <a:gd name="T51" fmla="*/ 0 h 124"/>
                  <a:gd name="T52" fmla="*/ 0 w 259"/>
                  <a:gd name="T53" fmla="*/ 0 h 124"/>
                  <a:gd name="T54" fmla="*/ 0 w 259"/>
                  <a:gd name="T55" fmla="*/ 0 h 124"/>
                  <a:gd name="T56" fmla="*/ 0 w 259"/>
                  <a:gd name="T57" fmla="*/ 0 h 124"/>
                  <a:gd name="T58" fmla="*/ 0 w 259"/>
                  <a:gd name="T59" fmla="*/ 0 h 124"/>
                  <a:gd name="T60" fmla="*/ 0 w 259"/>
                  <a:gd name="T61" fmla="*/ 0 h 124"/>
                  <a:gd name="T62" fmla="*/ 0 w 259"/>
                  <a:gd name="T63" fmla="*/ 0 h 124"/>
                  <a:gd name="T64" fmla="*/ 0 w 259"/>
                  <a:gd name="T65" fmla="*/ 0 h 124"/>
                  <a:gd name="T66" fmla="*/ 0 w 259"/>
                  <a:gd name="T67" fmla="*/ 0 h 124"/>
                  <a:gd name="T68" fmla="*/ 0 w 259"/>
                  <a:gd name="T69" fmla="*/ 0 h 124"/>
                  <a:gd name="T70" fmla="*/ 0 w 259"/>
                  <a:gd name="T71" fmla="*/ 0 h 124"/>
                  <a:gd name="T72" fmla="*/ 0 w 259"/>
                  <a:gd name="T73" fmla="*/ 0 h 124"/>
                  <a:gd name="T74" fmla="*/ 0 w 259"/>
                  <a:gd name="T75" fmla="*/ 0 h 124"/>
                  <a:gd name="T76" fmla="*/ 0 w 259"/>
                  <a:gd name="T77" fmla="*/ 0 h 124"/>
                  <a:gd name="T78" fmla="*/ 0 w 259"/>
                  <a:gd name="T79" fmla="*/ 0 h 124"/>
                  <a:gd name="T80" fmla="*/ 0 w 259"/>
                  <a:gd name="T81" fmla="*/ 0 h 124"/>
                  <a:gd name="T82" fmla="*/ 0 w 259"/>
                  <a:gd name="T83" fmla="*/ 0 h 124"/>
                  <a:gd name="T84" fmla="*/ 0 w 259"/>
                  <a:gd name="T85" fmla="*/ 0 h 124"/>
                  <a:gd name="T86" fmla="*/ 0 w 259"/>
                  <a:gd name="T87" fmla="*/ 0 h 124"/>
                  <a:gd name="T88" fmla="*/ 0 w 259"/>
                  <a:gd name="T89" fmla="*/ 0 h 124"/>
                  <a:gd name="T90" fmla="*/ 0 w 259"/>
                  <a:gd name="T91" fmla="*/ 0 h 124"/>
                  <a:gd name="T92" fmla="*/ 0 w 259"/>
                  <a:gd name="T93" fmla="*/ 0 h 124"/>
                  <a:gd name="T94" fmla="*/ 0 w 259"/>
                  <a:gd name="T95" fmla="*/ 0 h 124"/>
                  <a:gd name="T96" fmla="*/ 0 w 259"/>
                  <a:gd name="T97" fmla="*/ 0 h 124"/>
                  <a:gd name="T98" fmla="*/ 0 w 259"/>
                  <a:gd name="T99" fmla="*/ 0 h 124"/>
                  <a:gd name="T100" fmla="*/ 0 w 259"/>
                  <a:gd name="T101" fmla="*/ 0 h 124"/>
                  <a:gd name="T102" fmla="*/ 0 w 259"/>
                  <a:gd name="T103" fmla="*/ 0 h 124"/>
                  <a:gd name="T104" fmla="*/ 0 w 259"/>
                  <a:gd name="T105" fmla="*/ 0 h 124"/>
                  <a:gd name="T106" fmla="*/ 0 w 259"/>
                  <a:gd name="T107" fmla="*/ 0 h 124"/>
                  <a:gd name="T108" fmla="*/ 0 w 259"/>
                  <a:gd name="T109" fmla="*/ 0 h 124"/>
                  <a:gd name="T110" fmla="*/ 0 w 259"/>
                  <a:gd name="T111" fmla="*/ 0 h 124"/>
                  <a:gd name="T112" fmla="*/ 0 w 259"/>
                  <a:gd name="T113" fmla="*/ 0 h 124"/>
                  <a:gd name="T114" fmla="*/ 0 w 259"/>
                  <a:gd name="T115" fmla="*/ 0 h 124"/>
                  <a:gd name="T116" fmla="*/ 0 w 259"/>
                  <a:gd name="T117" fmla="*/ 0 h 124"/>
                  <a:gd name="T118" fmla="*/ 0 w 259"/>
                  <a:gd name="T119" fmla="*/ 0 h 124"/>
                  <a:gd name="T120" fmla="*/ 0 w 259"/>
                  <a:gd name="T121" fmla="*/ 0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59"/>
                  <a:gd name="T184" fmla="*/ 0 h 124"/>
                  <a:gd name="T185" fmla="*/ 259 w 259"/>
                  <a:gd name="T186" fmla="*/ 124 h 12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2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0 h 57"/>
                  <a:gd name="T2" fmla="*/ 0 w 119"/>
                  <a:gd name="T3" fmla="*/ 0 h 57"/>
                  <a:gd name="T4" fmla="*/ 0 w 119"/>
                  <a:gd name="T5" fmla="*/ 0 h 57"/>
                  <a:gd name="T6" fmla="*/ 0 w 119"/>
                  <a:gd name="T7" fmla="*/ 0 h 57"/>
                  <a:gd name="T8" fmla="*/ 0 w 119"/>
                  <a:gd name="T9" fmla="*/ 0 h 57"/>
                  <a:gd name="T10" fmla="*/ 0 w 119"/>
                  <a:gd name="T11" fmla="*/ 0 h 57"/>
                  <a:gd name="T12" fmla="*/ 0 w 119"/>
                  <a:gd name="T13" fmla="*/ 0 h 57"/>
                  <a:gd name="T14" fmla="*/ 0 w 119"/>
                  <a:gd name="T15" fmla="*/ 0 h 57"/>
                  <a:gd name="T16" fmla="*/ 0 w 119"/>
                  <a:gd name="T17" fmla="*/ 0 h 57"/>
                  <a:gd name="T18" fmla="*/ 0 w 119"/>
                  <a:gd name="T19" fmla="*/ 0 h 57"/>
                  <a:gd name="T20" fmla="*/ 0 w 119"/>
                  <a:gd name="T21" fmla="*/ 0 h 57"/>
                  <a:gd name="T22" fmla="*/ 0 w 119"/>
                  <a:gd name="T23" fmla="*/ 0 h 57"/>
                  <a:gd name="T24" fmla="*/ 0 w 119"/>
                  <a:gd name="T25" fmla="*/ 0 h 57"/>
                  <a:gd name="T26" fmla="*/ 0 w 119"/>
                  <a:gd name="T27" fmla="*/ 0 h 57"/>
                  <a:gd name="T28" fmla="*/ 0 w 119"/>
                  <a:gd name="T29" fmla="*/ 0 h 57"/>
                  <a:gd name="T30" fmla="*/ 0 w 119"/>
                  <a:gd name="T31" fmla="*/ 0 h 57"/>
                  <a:gd name="T32" fmla="*/ 0 w 119"/>
                  <a:gd name="T33" fmla="*/ 0 h 57"/>
                  <a:gd name="T34" fmla="*/ 0 w 119"/>
                  <a:gd name="T35" fmla="*/ 0 h 57"/>
                  <a:gd name="T36" fmla="*/ 0 w 119"/>
                  <a:gd name="T37" fmla="*/ 0 h 57"/>
                  <a:gd name="T38" fmla="*/ 0 w 119"/>
                  <a:gd name="T39" fmla="*/ 0 h 57"/>
                  <a:gd name="T40" fmla="*/ 0 w 119"/>
                  <a:gd name="T41" fmla="*/ 0 h 57"/>
                  <a:gd name="T42" fmla="*/ 0 w 119"/>
                  <a:gd name="T43" fmla="*/ 0 h 57"/>
                  <a:gd name="T44" fmla="*/ 0 w 119"/>
                  <a:gd name="T45" fmla="*/ 0 h 57"/>
                  <a:gd name="T46" fmla="*/ 0 w 119"/>
                  <a:gd name="T47" fmla="*/ 0 h 57"/>
                  <a:gd name="T48" fmla="*/ 0 w 119"/>
                  <a:gd name="T49" fmla="*/ 0 h 57"/>
                  <a:gd name="T50" fmla="*/ 0 w 119"/>
                  <a:gd name="T51" fmla="*/ 0 h 57"/>
                  <a:gd name="T52" fmla="*/ 0 w 119"/>
                  <a:gd name="T53" fmla="*/ 0 h 57"/>
                  <a:gd name="T54" fmla="*/ 0 w 119"/>
                  <a:gd name="T55" fmla="*/ 0 h 57"/>
                  <a:gd name="T56" fmla="*/ 0 w 119"/>
                  <a:gd name="T57" fmla="*/ 0 h 57"/>
                  <a:gd name="T58" fmla="*/ 0 w 119"/>
                  <a:gd name="T59" fmla="*/ 0 h 57"/>
                  <a:gd name="T60" fmla="*/ 0 w 119"/>
                  <a:gd name="T61" fmla="*/ 0 h 57"/>
                  <a:gd name="T62" fmla="*/ 0 w 119"/>
                  <a:gd name="T63" fmla="*/ 0 h 57"/>
                  <a:gd name="T64" fmla="*/ 0 w 119"/>
                  <a:gd name="T65" fmla="*/ 0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9"/>
                  <a:gd name="T100" fmla="*/ 0 h 57"/>
                  <a:gd name="T101" fmla="*/ 119 w 119"/>
                  <a:gd name="T102" fmla="*/ 57 h 5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3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0 h 52"/>
                  <a:gd name="T2" fmla="*/ 0 w 107"/>
                  <a:gd name="T3" fmla="*/ 0 h 52"/>
                  <a:gd name="T4" fmla="*/ 0 w 107"/>
                  <a:gd name="T5" fmla="*/ 0 h 52"/>
                  <a:gd name="T6" fmla="*/ 0 w 107"/>
                  <a:gd name="T7" fmla="*/ 0 h 52"/>
                  <a:gd name="T8" fmla="*/ 0 w 107"/>
                  <a:gd name="T9" fmla="*/ 0 h 52"/>
                  <a:gd name="T10" fmla="*/ 0 w 107"/>
                  <a:gd name="T11" fmla="*/ 0 h 52"/>
                  <a:gd name="T12" fmla="*/ 0 w 107"/>
                  <a:gd name="T13" fmla="*/ 0 h 52"/>
                  <a:gd name="T14" fmla="*/ 0 w 107"/>
                  <a:gd name="T15" fmla="*/ 0 h 52"/>
                  <a:gd name="T16" fmla="*/ 0 w 107"/>
                  <a:gd name="T17" fmla="*/ 0 h 52"/>
                  <a:gd name="T18" fmla="*/ 0 w 107"/>
                  <a:gd name="T19" fmla="*/ 0 h 52"/>
                  <a:gd name="T20" fmla="*/ 0 w 107"/>
                  <a:gd name="T21" fmla="*/ 0 h 52"/>
                  <a:gd name="T22" fmla="*/ 0 w 107"/>
                  <a:gd name="T23" fmla="*/ 0 h 52"/>
                  <a:gd name="T24" fmla="*/ 0 w 107"/>
                  <a:gd name="T25" fmla="*/ 0 h 52"/>
                  <a:gd name="T26" fmla="*/ 0 w 107"/>
                  <a:gd name="T27" fmla="*/ 0 h 52"/>
                  <a:gd name="T28" fmla="*/ 0 w 107"/>
                  <a:gd name="T29" fmla="*/ 0 h 52"/>
                  <a:gd name="T30" fmla="*/ 0 w 107"/>
                  <a:gd name="T31" fmla="*/ 0 h 52"/>
                  <a:gd name="T32" fmla="*/ 0 w 107"/>
                  <a:gd name="T33" fmla="*/ 0 h 52"/>
                  <a:gd name="T34" fmla="*/ 0 w 107"/>
                  <a:gd name="T35" fmla="*/ 0 h 52"/>
                  <a:gd name="T36" fmla="*/ 0 w 107"/>
                  <a:gd name="T37" fmla="*/ 0 h 52"/>
                  <a:gd name="T38" fmla="*/ 0 w 107"/>
                  <a:gd name="T39" fmla="*/ 0 h 52"/>
                  <a:gd name="T40" fmla="*/ 0 w 107"/>
                  <a:gd name="T41" fmla="*/ 0 h 52"/>
                  <a:gd name="T42" fmla="*/ 0 w 107"/>
                  <a:gd name="T43" fmla="*/ 0 h 52"/>
                  <a:gd name="T44" fmla="*/ 0 w 107"/>
                  <a:gd name="T45" fmla="*/ 0 h 52"/>
                  <a:gd name="T46" fmla="*/ 0 w 107"/>
                  <a:gd name="T47" fmla="*/ 0 h 52"/>
                  <a:gd name="T48" fmla="*/ 0 w 107"/>
                  <a:gd name="T49" fmla="*/ 0 h 52"/>
                  <a:gd name="T50" fmla="*/ 0 w 107"/>
                  <a:gd name="T51" fmla="*/ 0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07"/>
                  <a:gd name="T79" fmla="*/ 0 h 52"/>
                  <a:gd name="T80" fmla="*/ 107 w 107"/>
                  <a:gd name="T81" fmla="*/ 52 h 5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4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0 w 246"/>
                  <a:gd name="T1" fmla="*/ 0 h 99"/>
                  <a:gd name="T2" fmla="*/ 0 w 246"/>
                  <a:gd name="T3" fmla="*/ 0 h 99"/>
                  <a:gd name="T4" fmla="*/ 0 w 246"/>
                  <a:gd name="T5" fmla="*/ 0 h 99"/>
                  <a:gd name="T6" fmla="*/ 0 w 246"/>
                  <a:gd name="T7" fmla="*/ 0 h 99"/>
                  <a:gd name="T8" fmla="*/ 0 w 246"/>
                  <a:gd name="T9" fmla="*/ 0 h 99"/>
                  <a:gd name="T10" fmla="*/ 0 w 246"/>
                  <a:gd name="T11" fmla="*/ 0 h 99"/>
                  <a:gd name="T12" fmla="*/ 0 w 246"/>
                  <a:gd name="T13" fmla="*/ 0 h 99"/>
                  <a:gd name="T14" fmla="*/ 0 w 246"/>
                  <a:gd name="T15" fmla="*/ 0 h 99"/>
                  <a:gd name="T16" fmla="*/ 0 w 246"/>
                  <a:gd name="T17" fmla="*/ 0 h 99"/>
                  <a:gd name="T18" fmla="*/ 0 w 246"/>
                  <a:gd name="T19" fmla="*/ 0 h 99"/>
                  <a:gd name="T20" fmla="*/ 0 w 246"/>
                  <a:gd name="T21" fmla="*/ 0 h 99"/>
                  <a:gd name="T22" fmla="*/ 0 w 246"/>
                  <a:gd name="T23" fmla="*/ 0 h 99"/>
                  <a:gd name="T24" fmla="*/ 0 w 246"/>
                  <a:gd name="T25" fmla="*/ 0 h 99"/>
                  <a:gd name="T26" fmla="*/ 0 w 246"/>
                  <a:gd name="T27" fmla="*/ 0 h 99"/>
                  <a:gd name="T28" fmla="*/ 0 w 246"/>
                  <a:gd name="T29" fmla="*/ 0 h 99"/>
                  <a:gd name="T30" fmla="*/ 0 w 246"/>
                  <a:gd name="T31" fmla="*/ 0 h 99"/>
                  <a:gd name="T32" fmla="*/ 0 w 246"/>
                  <a:gd name="T33" fmla="*/ 0 h 99"/>
                  <a:gd name="T34" fmla="*/ 0 w 246"/>
                  <a:gd name="T35" fmla="*/ 0 h 99"/>
                  <a:gd name="T36" fmla="*/ 0 w 246"/>
                  <a:gd name="T37" fmla="*/ 0 h 99"/>
                  <a:gd name="T38" fmla="*/ 0 w 246"/>
                  <a:gd name="T39" fmla="*/ 0 h 99"/>
                  <a:gd name="T40" fmla="*/ 0 w 246"/>
                  <a:gd name="T41" fmla="*/ 0 h 99"/>
                  <a:gd name="T42" fmla="*/ 0 w 246"/>
                  <a:gd name="T43" fmla="*/ 0 h 99"/>
                  <a:gd name="T44" fmla="*/ 0 w 246"/>
                  <a:gd name="T45" fmla="*/ 0 h 99"/>
                  <a:gd name="T46" fmla="*/ 0 w 246"/>
                  <a:gd name="T47" fmla="*/ 0 h 99"/>
                  <a:gd name="T48" fmla="*/ 0 w 246"/>
                  <a:gd name="T49" fmla="*/ 0 h 99"/>
                  <a:gd name="T50" fmla="*/ 0 w 246"/>
                  <a:gd name="T51" fmla="*/ 0 h 99"/>
                  <a:gd name="T52" fmla="*/ 0 w 246"/>
                  <a:gd name="T53" fmla="*/ 0 h 99"/>
                  <a:gd name="T54" fmla="*/ 0 w 246"/>
                  <a:gd name="T55" fmla="*/ 0 h 99"/>
                  <a:gd name="T56" fmla="*/ 0 w 246"/>
                  <a:gd name="T57" fmla="*/ 0 h 99"/>
                  <a:gd name="T58" fmla="*/ 0 w 246"/>
                  <a:gd name="T59" fmla="*/ 0 h 99"/>
                  <a:gd name="T60" fmla="*/ 0 w 246"/>
                  <a:gd name="T61" fmla="*/ 0 h 99"/>
                  <a:gd name="T62" fmla="*/ 0 w 246"/>
                  <a:gd name="T63" fmla="*/ 0 h 99"/>
                  <a:gd name="T64" fmla="*/ 0 w 246"/>
                  <a:gd name="T65" fmla="*/ 0 h 99"/>
                  <a:gd name="T66" fmla="*/ 0 w 246"/>
                  <a:gd name="T67" fmla="*/ 0 h 99"/>
                  <a:gd name="T68" fmla="*/ 0 w 246"/>
                  <a:gd name="T69" fmla="*/ 0 h 99"/>
                  <a:gd name="T70" fmla="*/ 0 w 246"/>
                  <a:gd name="T71" fmla="*/ 0 h 99"/>
                  <a:gd name="T72" fmla="*/ 0 w 246"/>
                  <a:gd name="T73" fmla="*/ 0 h 99"/>
                  <a:gd name="T74" fmla="*/ 0 w 246"/>
                  <a:gd name="T75" fmla="*/ 0 h 99"/>
                  <a:gd name="T76" fmla="*/ 0 w 246"/>
                  <a:gd name="T77" fmla="*/ 0 h 99"/>
                  <a:gd name="T78" fmla="*/ 0 w 246"/>
                  <a:gd name="T79" fmla="*/ 0 h 99"/>
                  <a:gd name="T80" fmla="*/ 0 w 246"/>
                  <a:gd name="T81" fmla="*/ 0 h 99"/>
                  <a:gd name="T82" fmla="*/ 0 w 246"/>
                  <a:gd name="T83" fmla="*/ 0 h 99"/>
                  <a:gd name="T84" fmla="*/ 0 w 246"/>
                  <a:gd name="T85" fmla="*/ 0 h 99"/>
                  <a:gd name="T86" fmla="*/ 0 w 246"/>
                  <a:gd name="T87" fmla="*/ 0 h 99"/>
                  <a:gd name="T88" fmla="*/ 0 w 246"/>
                  <a:gd name="T89" fmla="*/ 0 h 99"/>
                  <a:gd name="T90" fmla="*/ 0 w 246"/>
                  <a:gd name="T91" fmla="*/ 0 h 99"/>
                  <a:gd name="T92" fmla="*/ 0 w 246"/>
                  <a:gd name="T93" fmla="*/ 0 h 99"/>
                  <a:gd name="T94" fmla="*/ 0 w 246"/>
                  <a:gd name="T95" fmla="*/ 0 h 99"/>
                  <a:gd name="T96" fmla="*/ 0 w 246"/>
                  <a:gd name="T97" fmla="*/ 0 h 99"/>
                  <a:gd name="T98" fmla="*/ 0 w 246"/>
                  <a:gd name="T99" fmla="*/ 0 h 99"/>
                  <a:gd name="T100" fmla="*/ 0 w 246"/>
                  <a:gd name="T101" fmla="*/ 0 h 99"/>
                  <a:gd name="T102" fmla="*/ 0 w 246"/>
                  <a:gd name="T103" fmla="*/ 0 h 99"/>
                  <a:gd name="T104" fmla="*/ 0 w 246"/>
                  <a:gd name="T105" fmla="*/ 0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99"/>
                  <a:gd name="T161" fmla="*/ 246 w 246"/>
                  <a:gd name="T162" fmla="*/ 99 h 9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5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0 w 233"/>
                  <a:gd name="T1" fmla="*/ 0 h 123"/>
                  <a:gd name="T2" fmla="*/ 0 w 233"/>
                  <a:gd name="T3" fmla="*/ 0 h 123"/>
                  <a:gd name="T4" fmla="*/ 0 w 233"/>
                  <a:gd name="T5" fmla="*/ 0 h 123"/>
                  <a:gd name="T6" fmla="*/ 0 w 233"/>
                  <a:gd name="T7" fmla="*/ 0 h 123"/>
                  <a:gd name="T8" fmla="*/ 0 w 233"/>
                  <a:gd name="T9" fmla="*/ 0 h 123"/>
                  <a:gd name="T10" fmla="*/ 0 w 233"/>
                  <a:gd name="T11" fmla="*/ 0 h 123"/>
                  <a:gd name="T12" fmla="*/ 0 w 233"/>
                  <a:gd name="T13" fmla="*/ 0 h 123"/>
                  <a:gd name="T14" fmla="*/ 0 w 233"/>
                  <a:gd name="T15" fmla="*/ 0 h 123"/>
                  <a:gd name="T16" fmla="*/ 0 w 233"/>
                  <a:gd name="T17" fmla="*/ 0 h 123"/>
                  <a:gd name="T18" fmla="*/ 0 w 233"/>
                  <a:gd name="T19" fmla="*/ 0 h 123"/>
                  <a:gd name="T20" fmla="*/ 0 w 233"/>
                  <a:gd name="T21" fmla="*/ 0 h 123"/>
                  <a:gd name="T22" fmla="*/ 0 w 233"/>
                  <a:gd name="T23" fmla="*/ 0 h 123"/>
                  <a:gd name="T24" fmla="*/ 0 w 233"/>
                  <a:gd name="T25" fmla="*/ 0 h 123"/>
                  <a:gd name="T26" fmla="*/ 0 w 233"/>
                  <a:gd name="T27" fmla="*/ 0 h 123"/>
                  <a:gd name="T28" fmla="*/ 0 w 233"/>
                  <a:gd name="T29" fmla="*/ 0 h 123"/>
                  <a:gd name="T30" fmla="*/ 0 w 233"/>
                  <a:gd name="T31" fmla="*/ 0 h 123"/>
                  <a:gd name="T32" fmla="*/ 0 w 233"/>
                  <a:gd name="T33" fmla="*/ 0 h 123"/>
                  <a:gd name="T34" fmla="*/ 0 w 233"/>
                  <a:gd name="T35" fmla="*/ 0 h 123"/>
                  <a:gd name="T36" fmla="*/ 0 w 233"/>
                  <a:gd name="T37" fmla="*/ 0 h 123"/>
                  <a:gd name="T38" fmla="*/ 0 w 233"/>
                  <a:gd name="T39" fmla="*/ 0 h 123"/>
                  <a:gd name="T40" fmla="*/ 0 w 233"/>
                  <a:gd name="T41" fmla="*/ 0 h 123"/>
                  <a:gd name="T42" fmla="*/ 0 w 233"/>
                  <a:gd name="T43" fmla="*/ 0 h 123"/>
                  <a:gd name="T44" fmla="*/ 0 w 233"/>
                  <a:gd name="T45" fmla="*/ 0 h 123"/>
                  <a:gd name="T46" fmla="*/ 0 w 233"/>
                  <a:gd name="T47" fmla="*/ 0 h 123"/>
                  <a:gd name="T48" fmla="*/ 0 w 233"/>
                  <a:gd name="T49" fmla="*/ 0 h 123"/>
                  <a:gd name="T50" fmla="*/ 0 w 233"/>
                  <a:gd name="T51" fmla="*/ 0 h 123"/>
                  <a:gd name="T52" fmla="*/ 0 w 233"/>
                  <a:gd name="T53" fmla="*/ 0 h 123"/>
                  <a:gd name="T54" fmla="*/ 0 w 233"/>
                  <a:gd name="T55" fmla="*/ 0 h 123"/>
                  <a:gd name="T56" fmla="*/ 0 w 233"/>
                  <a:gd name="T57" fmla="*/ 0 h 123"/>
                  <a:gd name="T58" fmla="*/ 0 w 233"/>
                  <a:gd name="T59" fmla="*/ 0 h 123"/>
                  <a:gd name="T60" fmla="*/ 0 w 233"/>
                  <a:gd name="T61" fmla="*/ 0 h 123"/>
                  <a:gd name="T62" fmla="*/ 0 w 233"/>
                  <a:gd name="T63" fmla="*/ 0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33"/>
                  <a:gd name="T97" fmla="*/ 0 h 123"/>
                  <a:gd name="T98" fmla="*/ 233 w 233"/>
                  <a:gd name="T99" fmla="*/ 123 h 12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6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0 h 172"/>
                  <a:gd name="T2" fmla="*/ 0 w 484"/>
                  <a:gd name="T3" fmla="*/ 0 h 172"/>
                  <a:gd name="T4" fmla="*/ 0 w 484"/>
                  <a:gd name="T5" fmla="*/ 0 h 172"/>
                  <a:gd name="T6" fmla="*/ 0 w 484"/>
                  <a:gd name="T7" fmla="*/ 0 h 172"/>
                  <a:gd name="T8" fmla="*/ 0 w 484"/>
                  <a:gd name="T9" fmla="*/ 0 h 172"/>
                  <a:gd name="T10" fmla="*/ 0 w 484"/>
                  <a:gd name="T11" fmla="*/ 0 h 172"/>
                  <a:gd name="T12" fmla="*/ 0 w 484"/>
                  <a:gd name="T13" fmla="*/ 0 h 172"/>
                  <a:gd name="T14" fmla="*/ 0 w 484"/>
                  <a:gd name="T15" fmla="*/ 0 h 172"/>
                  <a:gd name="T16" fmla="*/ 0 w 484"/>
                  <a:gd name="T17" fmla="*/ 0 h 172"/>
                  <a:gd name="T18" fmla="*/ 0 w 484"/>
                  <a:gd name="T19" fmla="*/ 0 h 172"/>
                  <a:gd name="T20" fmla="*/ 0 w 484"/>
                  <a:gd name="T21" fmla="*/ 0 h 172"/>
                  <a:gd name="T22" fmla="*/ 0 w 484"/>
                  <a:gd name="T23" fmla="*/ 0 h 172"/>
                  <a:gd name="T24" fmla="*/ 0 w 484"/>
                  <a:gd name="T25" fmla="*/ 0 h 172"/>
                  <a:gd name="T26" fmla="*/ 0 w 484"/>
                  <a:gd name="T27" fmla="*/ 0 h 172"/>
                  <a:gd name="T28" fmla="*/ 0 w 484"/>
                  <a:gd name="T29" fmla="*/ 0 h 172"/>
                  <a:gd name="T30" fmla="*/ 0 w 484"/>
                  <a:gd name="T31" fmla="*/ 0 h 172"/>
                  <a:gd name="T32" fmla="*/ 0 w 484"/>
                  <a:gd name="T33" fmla="*/ 0 h 172"/>
                  <a:gd name="T34" fmla="*/ 0 w 484"/>
                  <a:gd name="T35" fmla="*/ 0 h 172"/>
                  <a:gd name="T36" fmla="*/ 0 w 484"/>
                  <a:gd name="T37" fmla="*/ 0 h 172"/>
                  <a:gd name="T38" fmla="*/ 0 w 484"/>
                  <a:gd name="T39" fmla="*/ 0 h 172"/>
                  <a:gd name="T40" fmla="*/ 0 w 484"/>
                  <a:gd name="T41" fmla="*/ 0 h 172"/>
                  <a:gd name="T42" fmla="*/ 0 w 484"/>
                  <a:gd name="T43" fmla="*/ 0 h 172"/>
                  <a:gd name="T44" fmla="*/ 0 w 484"/>
                  <a:gd name="T45" fmla="*/ 0 h 172"/>
                  <a:gd name="T46" fmla="*/ 0 w 484"/>
                  <a:gd name="T47" fmla="*/ 0 h 172"/>
                  <a:gd name="T48" fmla="*/ 0 w 484"/>
                  <a:gd name="T49" fmla="*/ 0 h 172"/>
                  <a:gd name="T50" fmla="*/ 0 w 484"/>
                  <a:gd name="T51" fmla="*/ 0 h 172"/>
                  <a:gd name="T52" fmla="*/ 0 w 484"/>
                  <a:gd name="T53" fmla="*/ 0 h 172"/>
                  <a:gd name="T54" fmla="*/ 0 w 484"/>
                  <a:gd name="T55" fmla="*/ 0 h 172"/>
                  <a:gd name="T56" fmla="*/ 0 w 484"/>
                  <a:gd name="T57" fmla="*/ 0 h 172"/>
                  <a:gd name="T58" fmla="*/ 0 w 484"/>
                  <a:gd name="T59" fmla="*/ 0 h 172"/>
                  <a:gd name="T60" fmla="*/ 0 w 484"/>
                  <a:gd name="T61" fmla="*/ 0 h 172"/>
                  <a:gd name="T62" fmla="*/ 0 w 484"/>
                  <a:gd name="T63" fmla="*/ 0 h 172"/>
                  <a:gd name="T64" fmla="*/ 0 w 484"/>
                  <a:gd name="T65" fmla="*/ 0 h 172"/>
                  <a:gd name="T66" fmla="*/ 0 w 484"/>
                  <a:gd name="T67" fmla="*/ 0 h 172"/>
                  <a:gd name="T68" fmla="*/ 0 w 484"/>
                  <a:gd name="T69" fmla="*/ 0 h 172"/>
                  <a:gd name="T70" fmla="*/ 0 w 484"/>
                  <a:gd name="T71" fmla="*/ 0 h 172"/>
                  <a:gd name="T72" fmla="*/ 0 w 484"/>
                  <a:gd name="T73" fmla="*/ 0 h 172"/>
                  <a:gd name="T74" fmla="*/ 0 w 484"/>
                  <a:gd name="T75" fmla="*/ 0 h 172"/>
                  <a:gd name="T76" fmla="*/ 0 w 484"/>
                  <a:gd name="T77" fmla="*/ 0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84"/>
                  <a:gd name="T118" fmla="*/ 0 h 172"/>
                  <a:gd name="T119" fmla="*/ 484 w 484"/>
                  <a:gd name="T120" fmla="*/ 172 h 17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7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0 w 684"/>
                  <a:gd name="T1" fmla="*/ 0 h 240"/>
                  <a:gd name="T2" fmla="*/ 0 w 684"/>
                  <a:gd name="T3" fmla="*/ 0 h 240"/>
                  <a:gd name="T4" fmla="*/ 0 w 684"/>
                  <a:gd name="T5" fmla="*/ 0 h 240"/>
                  <a:gd name="T6" fmla="*/ 0 w 684"/>
                  <a:gd name="T7" fmla="*/ 0 h 240"/>
                  <a:gd name="T8" fmla="*/ 0 w 684"/>
                  <a:gd name="T9" fmla="*/ 0 h 240"/>
                  <a:gd name="T10" fmla="*/ 0 w 684"/>
                  <a:gd name="T11" fmla="*/ 0 h 240"/>
                  <a:gd name="T12" fmla="*/ 0 w 684"/>
                  <a:gd name="T13" fmla="*/ 0 h 240"/>
                  <a:gd name="T14" fmla="*/ 0 w 684"/>
                  <a:gd name="T15" fmla="*/ 0 h 240"/>
                  <a:gd name="T16" fmla="*/ 0 w 684"/>
                  <a:gd name="T17" fmla="*/ 0 h 240"/>
                  <a:gd name="T18" fmla="*/ 0 w 684"/>
                  <a:gd name="T19" fmla="*/ 0 h 240"/>
                  <a:gd name="T20" fmla="*/ 0 w 684"/>
                  <a:gd name="T21" fmla="*/ 0 h 240"/>
                  <a:gd name="T22" fmla="*/ 0 w 684"/>
                  <a:gd name="T23" fmla="*/ 0 h 240"/>
                  <a:gd name="T24" fmla="*/ 0 w 684"/>
                  <a:gd name="T25" fmla="*/ 0 h 240"/>
                  <a:gd name="T26" fmla="*/ 0 w 684"/>
                  <a:gd name="T27" fmla="*/ 0 h 240"/>
                  <a:gd name="T28" fmla="*/ 0 w 684"/>
                  <a:gd name="T29" fmla="*/ 0 h 240"/>
                  <a:gd name="T30" fmla="*/ 0 w 684"/>
                  <a:gd name="T31" fmla="*/ 0 h 240"/>
                  <a:gd name="T32" fmla="*/ 0 w 684"/>
                  <a:gd name="T33" fmla="*/ 0 h 240"/>
                  <a:gd name="T34" fmla="*/ 0 w 684"/>
                  <a:gd name="T35" fmla="*/ 0 h 240"/>
                  <a:gd name="T36" fmla="*/ 0 w 684"/>
                  <a:gd name="T37" fmla="*/ 0 h 240"/>
                  <a:gd name="T38" fmla="*/ 0 w 684"/>
                  <a:gd name="T39" fmla="*/ 0 h 240"/>
                  <a:gd name="T40" fmla="*/ 0 w 684"/>
                  <a:gd name="T41" fmla="*/ 0 h 240"/>
                  <a:gd name="T42" fmla="*/ 0 w 684"/>
                  <a:gd name="T43" fmla="*/ 0 h 240"/>
                  <a:gd name="T44" fmla="*/ 0 w 684"/>
                  <a:gd name="T45" fmla="*/ 0 h 240"/>
                  <a:gd name="T46" fmla="*/ 0 w 684"/>
                  <a:gd name="T47" fmla="*/ 0 h 240"/>
                  <a:gd name="T48" fmla="*/ 0 w 684"/>
                  <a:gd name="T49" fmla="*/ 0 h 240"/>
                  <a:gd name="T50" fmla="*/ 0 w 684"/>
                  <a:gd name="T51" fmla="*/ 0 h 240"/>
                  <a:gd name="T52" fmla="*/ 0 w 684"/>
                  <a:gd name="T53" fmla="*/ 0 h 240"/>
                  <a:gd name="T54" fmla="*/ 0 w 684"/>
                  <a:gd name="T55" fmla="*/ 0 h 240"/>
                  <a:gd name="T56" fmla="*/ 0 w 684"/>
                  <a:gd name="T57" fmla="*/ 0 h 240"/>
                  <a:gd name="T58" fmla="*/ 0 w 684"/>
                  <a:gd name="T59" fmla="*/ 0 h 240"/>
                  <a:gd name="T60" fmla="*/ 0 w 684"/>
                  <a:gd name="T61" fmla="*/ 0 h 240"/>
                  <a:gd name="T62" fmla="*/ 0 w 684"/>
                  <a:gd name="T63" fmla="*/ 0 h 240"/>
                  <a:gd name="T64" fmla="*/ 0 w 684"/>
                  <a:gd name="T65" fmla="*/ 0 h 240"/>
                  <a:gd name="T66" fmla="*/ 0 w 684"/>
                  <a:gd name="T67" fmla="*/ 0 h 240"/>
                  <a:gd name="T68" fmla="*/ 0 w 684"/>
                  <a:gd name="T69" fmla="*/ 0 h 240"/>
                  <a:gd name="T70" fmla="*/ 0 w 684"/>
                  <a:gd name="T71" fmla="*/ 0 h 240"/>
                  <a:gd name="T72" fmla="*/ 0 w 684"/>
                  <a:gd name="T73" fmla="*/ 0 h 240"/>
                  <a:gd name="T74" fmla="*/ 0 w 684"/>
                  <a:gd name="T75" fmla="*/ 0 h 240"/>
                  <a:gd name="T76" fmla="*/ 0 w 684"/>
                  <a:gd name="T77" fmla="*/ 0 h 240"/>
                  <a:gd name="T78" fmla="*/ 0 w 684"/>
                  <a:gd name="T79" fmla="*/ 0 h 240"/>
                  <a:gd name="T80" fmla="*/ 0 w 684"/>
                  <a:gd name="T81" fmla="*/ 0 h 240"/>
                  <a:gd name="T82" fmla="*/ 0 w 684"/>
                  <a:gd name="T83" fmla="*/ 0 h 240"/>
                  <a:gd name="T84" fmla="*/ 0 w 684"/>
                  <a:gd name="T85" fmla="*/ 0 h 240"/>
                  <a:gd name="T86" fmla="*/ 0 w 684"/>
                  <a:gd name="T87" fmla="*/ 0 h 240"/>
                  <a:gd name="T88" fmla="*/ 0 w 684"/>
                  <a:gd name="T89" fmla="*/ 0 h 240"/>
                  <a:gd name="T90" fmla="*/ 0 w 684"/>
                  <a:gd name="T91" fmla="*/ 0 h 240"/>
                  <a:gd name="T92" fmla="*/ 0 w 684"/>
                  <a:gd name="T93" fmla="*/ 0 h 240"/>
                  <a:gd name="T94" fmla="*/ 0 w 684"/>
                  <a:gd name="T95" fmla="*/ 0 h 240"/>
                  <a:gd name="T96" fmla="*/ 0 w 684"/>
                  <a:gd name="T97" fmla="*/ 0 h 240"/>
                  <a:gd name="T98" fmla="*/ 0 w 684"/>
                  <a:gd name="T99" fmla="*/ 0 h 240"/>
                  <a:gd name="T100" fmla="*/ 0 w 684"/>
                  <a:gd name="T101" fmla="*/ 0 h 240"/>
                  <a:gd name="T102" fmla="*/ 0 w 684"/>
                  <a:gd name="T103" fmla="*/ 0 h 240"/>
                  <a:gd name="T104" fmla="*/ 0 w 684"/>
                  <a:gd name="T105" fmla="*/ 0 h 240"/>
                  <a:gd name="T106" fmla="*/ 0 w 684"/>
                  <a:gd name="T107" fmla="*/ 0 h 240"/>
                  <a:gd name="T108" fmla="*/ 0 w 684"/>
                  <a:gd name="T109" fmla="*/ 0 h 240"/>
                  <a:gd name="T110" fmla="*/ 0 w 684"/>
                  <a:gd name="T111" fmla="*/ 0 h 240"/>
                  <a:gd name="T112" fmla="*/ 0 w 684"/>
                  <a:gd name="T113" fmla="*/ 0 h 240"/>
                  <a:gd name="T114" fmla="*/ 0 w 684"/>
                  <a:gd name="T115" fmla="*/ 0 h 240"/>
                  <a:gd name="T116" fmla="*/ 0 w 684"/>
                  <a:gd name="T117" fmla="*/ 0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84"/>
                  <a:gd name="T178" fmla="*/ 0 h 240"/>
                  <a:gd name="T179" fmla="*/ 684 w 684"/>
                  <a:gd name="T180" fmla="*/ 240 h 24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8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0 w 332"/>
                  <a:gd name="T1" fmla="*/ 0 h 287"/>
                  <a:gd name="T2" fmla="*/ 0 w 332"/>
                  <a:gd name="T3" fmla="*/ 0 h 287"/>
                  <a:gd name="T4" fmla="*/ 0 w 332"/>
                  <a:gd name="T5" fmla="*/ 0 h 287"/>
                  <a:gd name="T6" fmla="*/ 0 w 332"/>
                  <a:gd name="T7" fmla="*/ 0 h 287"/>
                  <a:gd name="T8" fmla="*/ 0 w 332"/>
                  <a:gd name="T9" fmla="*/ 0 h 287"/>
                  <a:gd name="T10" fmla="*/ 0 w 332"/>
                  <a:gd name="T11" fmla="*/ 0 h 287"/>
                  <a:gd name="T12" fmla="*/ 0 w 332"/>
                  <a:gd name="T13" fmla="*/ 0 h 287"/>
                  <a:gd name="T14" fmla="*/ 0 w 332"/>
                  <a:gd name="T15" fmla="*/ 0 h 287"/>
                  <a:gd name="T16" fmla="*/ 0 w 332"/>
                  <a:gd name="T17" fmla="*/ 0 h 287"/>
                  <a:gd name="T18" fmla="*/ 0 w 332"/>
                  <a:gd name="T19" fmla="*/ 0 h 287"/>
                  <a:gd name="T20" fmla="*/ 0 w 332"/>
                  <a:gd name="T21" fmla="*/ 0 h 287"/>
                  <a:gd name="T22" fmla="*/ 0 w 332"/>
                  <a:gd name="T23" fmla="*/ 0 h 287"/>
                  <a:gd name="T24" fmla="*/ 0 w 332"/>
                  <a:gd name="T25" fmla="*/ 0 h 287"/>
                  <a:gd name="T26" fmla="*/ 0 w 332"/>
                  <a:gd name="T27" fmla="*/ 0 h 287"/>
                  <a:gd name="T28" fmla="*/ 0 w 332"/>
                  <a:gd name="T29" fmla="*/ 0 h 287"/>
                  <a:gd name="T30" fmla="*/ 0 w 332"/>
                  <a:gd name="T31" fmla="*/ 0 h 287"/>
                  <a:gd name="T32" fmla="*/ 0 w 332"/>
                  <a:gd name="T33" fmla="*/ 0 h 287"/>
                  <a:gd name="T34" fmla="*/ 0 w 332"/>
                  <a:gd name="T35" fmla="*/ 0 h 287"/>
                  <a:gd name="T36" fmla="*/ 0 w 332"/>
                  <a:gd name="T37" fmla="*/ 0 h 287"/>
                  <a:gd name="T38" fmla="*/ 0 w 332"/>
                  <a:gd name="T39" fmla="*/ 0 h 287"/>
                  <a:gd name="T40" fmla="*/ 0 w 332"/>
                  <a:gd name="T41" fmla="*/ 0 h 287"/>
                  <a:gd name="T42" fmla="*/ 0 w 332"/>
                  <a:gd name="T43" fmla="*/ 0 h 287"/>
                  <a:gd name="T44" fmla="*/ 0 w 332"/>
                  <a:gd name="T45" fmla="*/ 0 h 287"/>
                  <a:gd name="T46" fmla="*/ 0 w 332"/>
                  <a:gd name="T47" fmla="*/ 0 h 287"/>
                  <a:gd name="T48" fmla="*/ 0 w 332"/>
                  <a:gd name="T49" fmla="*/ 0 h 287"/>
                  <a:gd name="T50" fmla="*/ 0 w 332"/>
                  <a:gd name="T51" fmla="*/ 0 h 287"/>
                  <a:gd name="T52" fmla="*/ 0 w 332"/>
                  <a:gd name="T53" fmla="*/ 0 h 287"/>
                  <a:gd name="T54" fmla="*/ 0 w 332"/>
                  <a:gd name="T55" fmla="*/ 0 h 287"/>
                  <a:gd name="T56" fmla="*/ 0 w 332"/>
                  <a:gd name="T57" fmla="*/ 0 h 287"/>
                  <a:gd name="T58" fmla="*/ 0 w 332"/>
                  <a:gd name="T59" fmla="*/ 0 h 287"/>
                  <a:gd name="T60" fmla="*/ 0 w 332"/>
                  <a:gd name="T61" fmla="*/ 0 h 287"/>
                  <a:gd name="T62" fmla="*/ 0 w 332"/>
                  <a:gd name="T63" fmla="*/ 0 h 287"/>
                  <a:gd name="T64" fmla="*/ 0 w 332"/>
                  <a:gd name="T65" fmla="*/ 0 h 287"/>
                  <a:gd name="T66" fmla="*/ 0 w 332"/>
                  <a:gd name="T67" fmla="*/ 0 h 287"/>
                  <a:gd name="T68" fmla="*/ 0 w 332"/>
                  <a:gd name="T69" fmla="*/ 0 h 287"/>
                  <a:gd name="T70" fmla="*/ 0 w 332"/>
                  <a:gd name="T71" fmla="*/ 0 h 287"/>
                  <a:gd name="T72" fmla="*/ 0 w 332"/>
                  <a:gd name="T73" fmla="*/ 0 h 287"/>
                  <a:gd name="T74" fmla="*/ 0 w 332"/>
                  <a:gd name="T75" fmla="*/ 0 h 287"/>
                  <a:gd name="T76" fmla="*/ 0 w 332"/>
                  <a:gd name="T77" fmla="*/ 0 h 287"/>
                  <a:gd name="T78" fmla="*/ 0 w 332"/>
                  <a:gd name="T79" fmla="*/ 0 h 287"/>
                  <a:gd name="T80" fmla="*/ 0 w 332"/>
                  <a:gd name="T81" fmla="*/ 0 h 287"/>
                  <a:gd name="T82" fmla="*/ 0 w 332"/>
                  <a:gd name="T83" fmla="*/ 0 h 287"/>
                  <a:gd name="T84" fmla="*/ 0 w 332"/>
                  <a:gd name="T85" fmla="*/ 0 h 287"/>
                  <a:gd name="T86" fmla="*/ 0 w 332"/>
                  <a:gd name="T87" fmla="*/ 0 h 287"/>
                  <a:gd name="T88" fmla="*/ 0 w 332"/>
                  <a:gd name="T89" fmla="*/ 0 h 287"/>
                  <a:gd name="T90" fmla="*/ 0 w 332"/>
                  <a:gd name="T91" fmla="*/ 0 h 287"/>
                  <a:gd name="T92" fmla="*/ 0 w 332"/>
                  <a:gd name="T93" fmla="*/ 0 h 287"/>
                  <a:gd name="T94" fmla="*/ 0 w 332"/>
                  <a:gd name="T95" fmla="*/ 0 h 287"/>
                  <a:gd name="T96" fmla="*/ 0 w 332"/>
                  <a:gd name="T97" fmla="*/ 0 h 287"/>
                  <a:gd name="T98" fmla="*/ 0 w 332"/>
                  <a:gd name="T99" fmla="*/ 0 h 287"/>
                  <a:gd name="T100" fmla="*/ 0 w 332"/>
                  <a:gd name="T101" fmla="*/ 0 h 287"/>
                  <a:gd name="T102" fmla="*/ 0 w 332"/>
                  <a:gd name="T103" fmla="*/ 0 h 287"/>
                  <a:gd name="T104" fmla="*/ 0 w 332"/>
                  <a:gd name="T105" fmla="*/ 0 h 287"/>
                  <a:gd name="T106" fmla="*/ 0 w 332"/>
                  <a:gd name="T107" fmla="*/ 0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32"/>
                  <a:gd name="T163" fmla="*/ 0 h 287"/>
                  <a:gd name="T164" fmla="*/ 332 w 332"/>
                  <a:gd name="T165" fmla="*/ 287 h 28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9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0 w 345"/>
                  <a:gd name="T1" fmla="*/ 0 h 86"/>
                  <a:gd name="T2" fmla="*/ 0 w 345"/>
                  <a:gd name="T3" fmla="*/ 0 h 86"/>
                  <a:gd name="T4" fmla="*/ 0 w 345"/>
                  <a:gd name="T5" fmla="*/ 0 h 86"/>
                  <a:gd name="T6" fmla="*/ 0 w 345"/>
                  <a:gd name="T7" fmla="*/ 0 h 86"/>
                  <a:gd name="T8" fmla="*/ 0 w 345"/>
                  <a:gd name="T9" fmla="*/ 0 h 86"/>
                  <a:gd name="T10" fmla="*/ 0 w 345"/>
                  <a:gd name="T11" fmla="*/ 0 h 86"/>
                  <a:gd name="T12" fmla="*/ 0 w 345"/>
                  <a:gd name="T13" fmla="*/ 0 h 86"/>
                  <a:gd name="T14" fmla="*/ 0 w 345"/>
                  <a:gd name="T15" fmla="*/ 0 h 86"/>
                  <a:gd name="T16" fmla="*/ 0 w 345"/>
                  <a:gd name="T17" fmla="*/ 0 h 86"/>
                  <a:gd name="T18" fmla="*/ 0 w 345"/>
                  <a:gd name="T19" fmla="*/ 0 h 86"/>
                  <a:gd name="T20" fmla="*/ 0 w 345"/>
                  <a:gd name="T21" fmla="*/ 0 h 86"/>
                  <a:gd name="T22" fmla="*/ 0 w 345"/>
                  <a:gd name="T23" fmla="*/ 0 h 86"/>
                  <a:gd name="T24" fmla="*/ 0 w 345"/>
                  <a:gd name="T25" fmla="*/ 0 h 86"/>
                  <a:gd name="T26" fmla="*/ 0 w 345"/>
                  <a:gd name="T27" fmla="*/ 0 h 86"/>
                  <a:gd name="T28" fmla="*/ 0 w 345"/>
                  <a:gd name="T29" fmla="*/ 0 h 86"/>
                  <a:gd name="T30" fmla="*/ 0 w 345"/>
                  <a:gd name="T31" fmla="*/ 0 h 86"/>
                  <a:gd name="T32" fmla="*/ 0 w 345"/>
                  <a:gd name="T33" fmla="*/ 0 h 86"/>
                  <a:gd name="T34" fmla="*/ 0 w 345"/>
                  <a:gd name="T35" fmla="*/ 0 h 86"/>
                  <a:gd name="T36" fmla="*/ 0 w 345"/>
                  <a:gd name="T37" fmla="*/ 0 h 86"/>
                  <a:gd name="T38" fmla="*/ 0 w 345"/>
                  <a:gd name="T39" fmla="*/ 0 h 86"/>
                  <a:gd name="T40" fmla="*/ 0 w 345"/>
                  <a:gd name="T41" fmla="*/ 0 h 86"/>
                  <a:gd name="T42" fmla="*/ 0 w 345"/>
                  <a:gd name="T43" fmla="*/ 0 h 86"/>
                  <a:gd name="T44" fmla="*/ 0 w 345"/>
                  <a:gd name="T45" fmla="*/ 0 h 86"/>
                  <a:gd name="T46" fmla="*/ 0 w 345"/>
                  <a:gd name="T47" fmla="*/ 0 h 86"/>
                  <a:gd name="T48" fmla="*/ 0 w 345"/>
                  <a:gd name="T49" fmla="*/ 0 h 86"/>
                  <a:gd name="T50" fmla="*/ 0 w 345"/>
                  <a:gd name="T51" fmla="*/ 0 h 86"/>
                  <a:gd name="T52" fmla="*/ 0 w 345"/>
                  <a:gd name="T53" fmla="*/ 0 h 86"/>
                  <a:gd name="T54" fmla="*/ 0 w 345"/>
                  <a:gd name="T55" fmla="*/ 0 h 86"/>
                  <a:gd name="T56" fmla="*/ 0 w 345"/>
                  <a:gd name="T57" fmla="*/ 0 h 86"/>
                  <a:gd name="T58" fmla="*/ 0 w 345"/>
                  <a:gd name="T59" fmla="*/ 0 h 86"/>
                  <a:gd name="T60" fmla="*/ 0 w 345"/>
                  <a:gd name="T61" fmla="*/ 0 h 86"/>
                  <a:gd name="T62" fmla="*/ 0 w 345"/>
                  <a:gd name="T63" fmla="*/ 0 h 86"/>
                  <a:gd name="T64" fmla="*/ 0 w 345"/>
                  <a:gd name="T65" fmla="*/ 0 h 86"/>
                  <a:gd name="T66" fmla="*/ 0 w 345"/>
                  <a:gd name="T67" fmla="*/ 0 h 86"/>
                  <a:gd name="T68" fmla="*/ 0 w 345"/>
                  <a:gd name="T69" fmla="*/ 0 h 86"/>
                  <a:gd name="T70" fmla="*/ 0 w 345"/>
                  <a:gd name="T71" fmla="*/ 0 h 86"/>
                  <a:gd name="T72" fmla="*/ 0 w 345"/>
                  <a:gd name="T73" fmla="*/ 0 h 86"/>
                  <a:gd name="T74" fmla="*/ 0 w 345"/>
                  <a:gd name="T75" fmla="*/ 0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45"/>
                  <a:gd name="T115" fmla="*/ 0 h 86"/>
                  <a:gd name="T116" fmla="*/ 345 w 345"/>
                  <a:gd name="T117" fmla="*/ 86 h 8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0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0 w 464"/>
                  <a:gd name="T1" fmla="*/ 0 h 130"/>
                  <a:gd name="T2" fmla="*/ 0 w 464"/>
                  <a:gd name="T3" fmla="*/ 0 h 130"/>
                  <a:gd name="T4" fmla="*/ 0 w 464"/>
                  <a:gd name="T5" fmla="*/ 0 h 130"/>
                  <a:gd name="T6" fmla="*/ 0 w 464"/>
                  <a:gd name="T7" fmla="*/ 0 h 130"/>
                  <a:gd name="T8" fmla="*/ 0 w 464"/>
                  <a:gd name="T9" fmla="*/ 0 h 130"/>
                  <a:gd name="T10" fmla="*/ 0 w 464"/>
                  <a:gd name="T11" fmla="*/ 0 h 130"/>
                  <a:gd name="T12" fmla="*/ 0 w 464"/>
                  <a:gd name="T13" fmla="*/ 0 h 130"/>
                  <a:gd name="T14" fmla="*/ 0 w 464"/>
                  <a:gd name="T15" fmla="*/ 0 h 130"/>
                  <a:gd name="T16" fmla="*/ 0 w 464"/>
                  <a:gd name="T17" fmla="*/ 0 h 130"/>
                  <a:gd name="T18" fmla="*/ 0 w 464"/>
                  <a:gd name="T19" fmla="*/ 0 h 130"/>
                  <a:gd name="T20" fmla="*/ 0 w 464"/>
                  <a:gd name="T21" fmla="*/ 0 h 130"/>
                  <a:gd name="T22" fmla="*/ 0 w 464"/>
                  <a:gd name="T23" fmla="*/ 0 h 130"/>
                  <a:gd name="T24" fmla="*/ 0 w 464"/>
                  <a:gd name="T25" fmla="*/ 0 h 130"/>
                  <a:gd name="T26" fmla="*/ 0 w 464"/>
                  <a:gd name="T27" fmla="*/ 0 h 130"/>
                  <a:gd name="T28" fmla="*/ 0 w 464"/>
                  <a:gd name="T29" fmla="*/ 0 h 130"/>
                  <a:gd name="T30" fmla="*/ 0 w 464"/>
                  <a:gd name="T31" fmla="*/ 0 h 130"/>
                  <a:gd name="T32" fmla="*/ 0 w 464"/>
                  <a:gd name="T33" fmla="*/ 0 h 130"/>
                  <a:gd name="T34" fmla="*/ 0 w 464"/>
                  <a:gd name="T35" fmla="*/ 0 h 130"/>
                  <a:gd name="T36" fmla="*/ 0 w 464"/>
                  <a:gd name="T37" fmla="*/ 0 h 130"/>
                  <a:gd name="T38" fmla="*/ 0 w 464"/>
                  <a:gd name="T39" fmla="*/ 0 h 130"/>
                  <a:gd name="T40" fmla="*/ 0 w 464"/>
                  <a:gd name="T41" fmla="*/ 0 h 130"/>
                  <a:gd name="T42" fmla="*/ 0 w 464"/>
                  <a:gd name="T43" fmla="*/ 0 h 130"/>
                  <a:gd name="T44" fmla="*/ 0 w 464"/>
                  <a:gd name="T45" fmla="*/ 0 h 130"/>
                  <a:gd name="T46" fmla="*/ 0 w 464"/>
                  <a:gd name="T47" fmla="*/ 0 h 130"/>
                  <a:gd name="T48" fmla="*/ 0 w 464"/>
                  <a:gd name="T49" fmla="*/ 0 h 130"/>
                  <a:gd name="T50" fmla="*/ 0 w 464"/>
                  <a:gd name="T51" fmla="*/ 0 h 130"/>
                  <a:gd name="T52" fmla="*/ 0 w 464"/>
                  <a:gd name="T53" fmla="*/ 0 h 130"/>
                  <a:gd name="T54" fmla="*/ 0 w 464"/>
                  <a:gd name="T55" fmla="*/ 0 h 130"/>
                  <a:gd name="T56" fmla="*/ 0 w 464"/>
                  <a:gd name="T57" fmla="*/ 0 h 130"/>
                  <a:gd name="T58" fmla="*/ 0 w 464"/>
                  <a:gd name="T59" fmla="*/ 0 h 130"/>
                  <a:gd name="T60" fmla="*/ 0 w 464"/>
                  <a:gd name="T61" fmla="*/ 0 h 130"/>
                  <a:gd name="T62" fmla="*/ 0 w 464"/>
                  <a:gd name="T63" fmla="*/ 0 h 130"/>
                  <a:gd name="T64" fmla="*/ 0 w 464"/>
                  <a:gd name="T65" fmla="*/ 0 h 130"/>
                  <a:gd name="T66" fmla="*/ 0 w 464"/>
                  <a:gd name="T67" fmla="*/ 0 h 130"/>
                  <a:gd name="T68" fmla="*/ 0 w 464"/>
                  <a:gd name="T69" fmla="*/ 0 h 130"/>
                  <a:gd name="T70" fmla="*/ 0 w 464"/>
                  <a:gd name="T71" fmla="*/ 0 h 130"/>
                  <a:gd name="T72" fmla="*/ 0 w 464"/>
                  <a:gd name="T73" fmla="*/ 0 h 130"/>
                  <a:gd name="T74" fmla="*/ 0 w 464"/>
                  <a:gd name="T75" fmla="*/ 0 h 130"/>
                  <a:gd name="T76" fmla="*/ 0 w 464"/>
                  <a:gd name="T77" fmla="*/ 0 h 130"/>
                  <a:gd name="T78" fmla="*/ 0 w 464"/>
                  <a:gd name="T79" fmla="*/ 0 h 130"/>
                  <a:gd name="T80" fmla="*/ 0 w 464"/>
                  <a:gd name="T81" fmla="*/ 0 h 130"/>
                  <a:gd name="T82" fmla="*/ 0 w 464"/>
                  <a:gd name="T83" fmla="*/ 0 h 130"/>
                  <a:gd name="T84" fmla="*/ 0 w 464"/>
                  <a:gd name="T85" fmla="*/ 0 h 130"/>
                  <a:gd name="T86" fmla="*/ 0 w 464"/>
                  <a:gd name="T87" fmla="*/ 0 h 130"/>
                  <a:gd name="T88" fmla="*/ 0 w 464"/>
                  <a:gd name="T89" fmla="*/ 0 h 130"/>
                  <a:gd name="T90" fmla="*/ 0 w 464"/>
                  <a:gd name="T91" fmla="*/ 0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64"/>
                  <a:gd name="T139" fmla="*/ 0 h 130"/>
                  <a:gd name="T140" fmla="*/ 464 w 464"/>
                  <a:gd name="T141" fmla="*/ 130 h 13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1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0 w 472"/>
                  <a:gd name="T1" fmla="*/ 0 h 92"/>
                  <a:gd name="T2" fmla="*/ 0 w 472"/>
                  <a:gd name="T3" fmla="*/ 0 h 92"/>
                  <a:gd name="T4" fmla="*/ 0 w 472"/>
                  <a:gd name="T5" fmla="*/ 0 h 92"/>
                  <a:gd name="T6" fmla="*/ 0 w 472"/>
                  <a:gd name="T7" fmla="*/ 0 h 92"/>
                  <a:gd name="T8" fmla="*/ 0 w 472"/>
                  <a:gd name="T9" fmla="*/ 0 h 92"/>
                  <a:gd name="T10" fmla="*/ 0 w 472"/>
                  <a:gd name="T11" fmla="*/ 0 h 92"/>
                  <a:gd name="T12" fmla="*/ 0 w 472"/>
                  <a:gd name="T13" fmla="*/ 0 h 92"/>
                  <a:gd name="T14" fmla="*/ 0 w 472"/>
                  <a:gd name="T15" fmla="*/ 0 h 92"/>
                  <a:gd name="T16" fmla="*/ 0 w 472"/>
                  <a:gd name="T17" fmla="*/ 0 h 92"/>
                  <a:gd name="T18" fmla="*/ 0 w 472"/>
                  <a:gd name="T19" fmla="*/ 0 h 92"/>
                  <a:gd name="T20" fmla="*/ 0 w 472"/>
                  <a:gd name="T21" fmla="*/ 0 h 92"/>
                  <a:gd name="T22" fmla="*/ 0 w 472"/>
                  <a:gd name="T23" fmla="*/ 0 h 92"/>
                  <a:gd name="T24" fmla="*/ 0 w 472"/>
                  <a:gd name="T25" fmla="*/ 0 h 92"/>
                  <a:gd name="T26" fmla="*/ 0 w 472"/>
                  <a:gd name="T27" fmla="*/ 0 h 92"/>
                  <a:gd name="T28" fmla="*/ 0 w 472"/>
                  <a:gd name="T29" fmla="*/ 0 h 92"/>
                  <a:gd name="T30" fmla="*/ 0 w 472"/>
                  <a:gd name="T31" fmla="*/ 0 h 92"/>
                  <a:gd name="T32" fmla="*/ 0 w 472"/>
                  <a:gd name="T33" fmla="*/ 0 h 92"/>
                  <a:gd name="T34" fmla="*/ 0 w 472"/>
                  <a:gd name="T35" fmla="*/ 0 h 92"/>
                  <a:gd name="T36" fmla="*/ 0 w 472"/>
                  <a:gd name="T37" fmla="*/ 0 h 92"/>
                  <a:gd name="T38" fmla="*/ 0 w 472"/>
                  <a:gd name="T39" fmla="*/ 0 h 92"/>
                  <a:gd name="T40" fmla="*/ 0 w 472"/>
                  <a:gd name="T41" fmla="*/ 0 h 92"/>
                  <a:gd name="T42" fmla="*/ 0 w 472"/>
                  <a:gd name="T43" fmla="*/ 0 h 92"/>
                  <a:gd name="T44" fmla="*/ 0 w 472"/>
                  <a:gd name="T45" fmla="*/ 0 h 92"/>
                  <a:gd name="T46" fmla="*/ 0 w 472"/>
                  <a:gd name="T47" fmla="*/ 0 h 92"/>
                  <a:gd name="T48" fmla="*/ 0 w 472"/>
                  <a:gd name="T49" fmla="*/ 0 h 92"/>
                  <a:gd name="T50" fmla="*/ 0 w 472"/>
                  <a:gd name="T51" fmla="*/ 0 h 92"/>
                  <a:gd name="T52" fmla="*/ 0 w 472"/>
                  <a:gd name="T53" fmla="*/ 0 h 92"/>
                  <a:gd name="T54" fmla="*/ 0 w 472"/>
                  <a:gd name="T55" fmla="*/ 0 h 92"/>
                  <a:gd name="T56" fmla="*/ 0 w 472"/>
                  <a:gd name="T57" fmla="*/ 0 h 92"/>
                  <a:gd name="T58" fmla="*/ 0 w 472"/>
                  <a:gd name="T59" fmla="*/ 0 h 92"/>
                  <a:gd name="T60" fmla="*/ 0 w 472"/>
                  <a:gd name="T61" fmla="*/ 0 h 92"/>
                  <a:gd name="T62" fmla="*/ 0 w 472"/>
                  <a:gd name="T63" fmla="*/ 0 h 92"/>
                  <a:gd name="T64" fmla="*/ 0 w 472"/>
                  <a:gd name="T65" fmla="*/ 0 h 92"/>
                  <a:gd name="T66" fmla="*/ 0 w 472"/>
                  <a:gd name="T67" fmla="*/ 0 h 92"/>
                  <a:gd name="T68" fmla="*/ 0 w 472"/>
                  <a:gd name="T69" fmla="*/ 0 h 92"/>
                  <a:gd name="T70" fmla="*/ 0 w 472"/>
                  <a:gd name="T71" fmla="*/ 0 h 92"/>
                  <a:gd name="T72" fmla="*/ 0 w 472"/>
                  <a:gd name="T73" fmla="*/ 0 h 92"/>
                  <a:gd name="T74" fmla="*/ 0 w 472"/>
                  <a:gd name="T75" fmla="*/ 0 h 92"/>
                  <a:gd name="T76" fmla="*/ 0 w 472"/>
                  <a:gd name="T77" fmla="*/ 0 h 92"/>
                  <a:gd name="T78" fmla="*/ 0 w 472"/>
                  <a:gd name="T79" fmla="*/ 0 h 92"/>
                  <a:gd name="T80" fmla="*/ 0 w 472"/>
                  <a:gd name="T81" fmla="*/ 0 h 92"/>
                  <a:gd name="T82" fmla="*/ 0 w 472"/>
                  <a:gd name="T83" fmla="*/ 0 h 92"/>
                  <a:gd name="T84" fmla="*/ 0 w 472"/>
                  <a:gd name="T85" fmla="*/ 0 h 92"/>
                  <a:gd name="T86" fmla="*/ 0 w 472"/>
                  <a:gd name="T87" fmla="*/ 0 h 92"/>
                  <a:gd name="T88" fmla="*/ 0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72"/>
                  <a:gd name="T136" fmla="*/ 0 h 92"/>
                  <a:gd name="T137" fmla="*/ 472 w 472"/>
                  <a:gd name="T138" fmla="*/ 92 h 9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2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0 w 326"/>
                  <a:gd name="T1" fmla="*/ 0 h 135"/>
                  <a:gd name="T2" fmla="*/ 0 w 326"/>
                  <a:gd name="T3" fmla="*/ 0 h 135"/>
                  <a:gd name="T4" fmla="*/ 0 w 326"/>
                  <a:gd name="T5" fmla="*/ 0 h 135"/>
                  <a:gd name="T6" fmla="*/ 0 w 326"/>
                  <a:gd name="T7" fmla="*/ 0 h 135"/>
                  <a:gd name="T8" fmla="*/ 0 w 326"/>
                  <a:gd name="T9" fmla="*/ 0 h 135"/>
                  <a:gd name="T10" fmla="*/ 0 w 326"/>
                  <a:gd name="T11" fmla="*/ 0 h 135"/>
                  <a:gd name="T12" fmla="*/ 0 w 326"/>
                  <a:gd name="T13" fmla="*/ 0 h 135"/>
                  <a:gd name="T14" fmla="*/ 0 w 326"/>
                  <a:gd name="T15" fmla="*/ 0 h 135"/>
                  <a:gd name="T16" fmla="*/ 0 w 326"/>
                  <a:gd name="T17" fmla="*/ 0 h 135"/>
                  <a:gd name="T18" fmla="*/ 0 w 326"/>
                  <a:gd name="T19" fmla="*/ 0 h 135"/>
                  <a:gd name="T20" fmla="*/ 0 w 326"/>
                  <a:gd name="T21" fmla="*/ 0 h 135"/>
                  <a:gd name="T22" fmla="*/ 0 w 326"/>
                  <a:gd name="T23" fmla="*/ 0 h 135"/>
                  <a:gd name="T24" fmla="*/ 0 w 326"/>
                  <a:gd name="T25" fmla="*/ 0 h 135"/>
                  <a:gd name="T26" fmla="*/ 0 w 326"/>
                  <a:gd name="T27" fmla="*/ 0 h 135"/>
                  <a:gd name="T28" fmla="*/ 0 w 326"/>
                  <a:gd name="T29" fmla="*/ 0 h 135"/>
                  <a:gd name="T30" fmla="*/ 0 w 326"/>
                  <a:gd name="T31" fmla="*/ 0 h 135"/>
                  <a:gd name="T32" fmla="*/ 0 w 326"/>
                  <a:gd name="T33" fmla="*/ 0 h 135"/>
                  <a:gd name="T34" fmla="*/ 0 w 326"/>
                  <a:gd name="T35" fmla="*/ 0 h 135"/>
                  <a:gd name="T36" fmla="*/ 0 w 326"/>
                  <a:gd name="T37" fmla="*/ 0 h 135"/>
                  <a:gd name="T38" fmla="*/ 0 w 326"/>
                  <a:gd name="T39" fmla="*/ 0 h 135"/>
                  <a:gd name="T40" fmla="*/ 0 w 326"/>
                  <a:gd name="T41" fmla="*/ 0 h 135"/>
                  <a:gd name="T42" fmla="*/ 0 w 326"/>
                  <a:gd name="T43" fmla="*/ 0 h 135"/>
                  <a:gd name="T44" fmla="*/ 0 w 326"/>
                  <a:gd name="T45" fmla="*/ 0 h 135"/>
                  <a:gd name="T46" fmla="*/ 0 w 326"/>
                  <a:gd name="T47" fmla="*/ 0 h 135"/>
                  <a:gd name="T48" fmla="*/ 0 w 326"/>
                  <a:gd name="T49" fmla="*/ 0 h 135"/>
                  <a:gd name="T50" fmla="*/ 0 w 326"/>
                  <a:gd name="T51" fmla="*/ 0 h 135"/>
                  <a:gd name="T52" fmla="*/ 0 w 326"/>
                  <a:gd name="T53" fmla="*/ 0 h 135"/>
                  <a:gd name="T54" fmla="*/ 0 w 326"/>
                  <a:gd name="T55" fmla="*/ 0 h 135"/>
                  <a:gd name="T56" fmla="*/ 0 w 326"/>
                  <a:gd name="T57" fmla="*/ 0 h 135"/>
                  <a:gd name="T58" fmla="*/ 0 w 326"/>
                  <a:gd name="T59" fmla="*/ 0 h 135"/>
                  <a:gd name="T60" fmla="*/ 0 w 326"/>
                  <a:gd name="T61" fmla="*/ 0 h 135"/>
                  <a:gd name="T62" fmla="*/ 0 w 326"/>
                  <a:gd name="T63" fmla="*/ 0 h 135"/>
                  <a:gd name="T64" fmla="*/ 0 w 326"/>
                  <a:gd name="T65" fmla="*/ 0 h 135"/>
                  <a:gd name="T66" fmla="*/ 0 w 326"/>
                  <a:gd name="T67" fmla="*/ 0 h 135"/>
                  <a:gd name="T68" fmla="*/ 0 w 326"/>
                  <a:gd name="T69" fmla="*/ 0 h 135"/>
                  <a:gd name="T70" fmla="*/ 0 w 326"/>
                  <a:gd name="T71" fmla="*/ 0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26"/>
                  <a:gd name="T109" fmla="*/ 0 h 135"/>
                  <a:gd name="T110" fmla="*/ 326 w 326"/>
                  <a:gd name="T111" fmla="*/ 135 h 13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3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0 w 159"/>
                  <a:gd name="T1" fmla="*/ 0 h 56"/>
                  <a:gd name="T2" fmla="*/ 0 w 159"/>
                  <a:gd name="T3" fmla="*/ 0 h 56"/>
                  <a:gd name="T4" fmla="*/ 0 w 159"/>
                  <a:gd name="T5" fmla="*/ 0 h 56"/>
                  <a:gd name="T6" fmla="*/ 0 w 159"/>
                  <a:gd name="T7" fmla="*/ 0 h 56"/>
                  <a:gd name="T8" fmla="*/ 0 w 159"/>
                  <a:gd name="T9" fmla="*/ 0 h 56"/>
                  <a:gd name="T10" fmla="*/ 0 w 159"/>
                  <a:gd name="T11" fmla="*/ 0 h 56"/>
                  <a:gd name="T12" fmla="*/ 0 w 159"/>
                  <a:gd name="T13" fmla="*/ 0 h 56"/>
                  <a:gd name="T14" fmla="*/ 0 w 159"/>
                  <a:gd name="T15" fmla="*/ 0 h 56"/>
                  <a:gd name="T16" fmla="*/ 0 w 159"/>
                  <a:gd name="T17" fmla="*/ 0 h 56"/>
                  <a:gd name="T18" fmla="*/ 0 w 159"/>
                  <a:gd name="T19" fmla="*/ 0 h 56"/>
                  <a:gd name="T20" fmla="*/ 0 w 159"/>
                  <a:gd name="T21" fmla="*/ 0 h 56"/>
                  <a:gd name="T22" fmla="*/ 0 w 159"/>
                  <a:gd name="T23" fmla="*/ 0 h 56"/>
                  <a:gd name="T24" fmla="*/ 0 w 159"/>
                  <a:gd name="T25" fmla="*/ 0 h 56"/>
                  <a:gd name="T26" fmla="*/ 0 w 159"/>
                  <a:gd name="T27" fmla="*/ 0 h 56"/>
                  <a:gd name="T28" fmla="*/ 0 w 159"/>
                  <a:gd name="T29" fmla="*/ 0 h 56"/>
                  <a:gd name="T30" fmla="*/ 0 w 159"/>
                  <a:gd name="T31" fmla="*/ 0 h 56"/>
                  <a:gd name="T32" fmla="*/ 0 w 159"/>
                  <a:gd name="T33" fmla="*/ 0 h 56"/>
                  <a:gd name="T34" fmla="*/ 0 w 159"/>
                  <a:gd name="T35" fmla="*/ 0 h 56"/>
                  <a:gd name="T36" fmla="*/ 0 w 159"/>
                  <a:gd name="T37" fmla="*/ 0 h 56"/>
                  <a:gd name="T38" fmla="*/ 0 w 159"/>
                  <a:gd name="T39" fmla="*/ 0 h 56"/>
                  <a:gd name="T40" fmla="*/ 0 w 159"/>
                  <a:gd name="T41" fmla="*/ 0 h 56"/>
                  <a:gd name="T42" fmla="*/ 0 w 159"/>
                  <a:gd name="T43" fmla="*/ 0 h 56"/>
                  <a:gd name="T44" fmla="*/ 0 w 159"/>
                  <a:gd name="T45" fmla="*/ 0 h 56"/>
                  <a:gd name="T46" fmla="*/ 0 w 159"/>
                  <a:gd name="T47" fmla="*/ 0 h 56"/>
                  <a:gd name="T48" fmla="*/ 0 w 159"/>
                  <a:gd name="T49" fmla="*/ 0 h 56"/>
                  <a:gd name="T50" fmla="*/ 0 w 159"/>
                  <a:gd name="T51" fmla="*/ 0 h 56"/>
                  <a:gd name="T52" fmla="*/ 0 w 159"/>
                  <a:gd name="T53" fmla="*/ 0 h 56"/>
                  <a:gd name="T54" fmla="*/ 0 w 159"/>
                  <a:gd name="T55" fmla="*/ 0 h 56"/>
                  <a:gd name="T56" fmla="*/ 0 w 159"/>
                  <a:gd name="T57" fmla="*/ 0 h 56"/>
                  <a:gd name="T58" fmla="*/ 0 w 159"/>
                  <a:gd name="T59" fmla="*/ 0 h 56"/>
                  <a:gd name="T60" fmla="*/ 0 w 159"/>
                  <a:gd name="T61" fmla="*/ 0 h 56"/>
                  <a:gd name="T62" fmla="*/ 0 w 159"/>
                  <a:gd name="T63" fmla="*/ 0 h 56"/>
                  <a:gd name="T64" fmla="*/ 0 w 159"/>
                  <a:gd name="T65" fmla="*/ 0 h 56"/>
                  <a:gd name="T66" fmla="*/ 0 w 159"/>
                  <a:gd name="T67" fmla="*/ 0 h 56"/>
                  <a:gd name="T68" fmla="*/ 0 w 159"/>
                  <a:gd name="T69" fmla="*/ 0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59"/>
                  <a:gd name="T106" fmla="*/ 0 h 56"/>
                  <a:gd name="T107" fmla="*/ 159 w 159"/>
                  <a:gd name="T108" fmla="*/ 56 h 5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4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0 w 3734"/>
                  <a:gd name="T1" fmla="*/ 0 h 1644"/>
                  <a:gd name="T2" fmla="*/ 0 w 3734"/>
                  <a:gd name="T3" fmla="*/ 0 h 1644"/>
                  <a:gd name="T4" fmla="*/ 0 w 3734"/>
                  <a:gd name="T5" fmla="*/ 0 h 1644"/>
                  <a:gd name="T6" fmla="*/ 0 w 3734"/>
                  <a:gd name="T7" fmla="*/ 0 h 1644"/>
                  <a:gd name="T8" fmla="*/ 0 w 3734"/>
                  <a:gd name="T9" fmla="*/ 0 h 1644"/>
                  <a:gd name="T10" fmla="*/ 0 w 3734"/>
                  <a:gd name="T11" fmla="*/ 0 h 1644"/>
                  <a:gd name="T12" fmla="*/ 0 w 3734"/>
                  <a:gd name="T13" fmla="*/ 0 h 1644"/>
                  <a:gd name="T14" fmla="*/ 0 w 3734"/>
                  <a:gd name="T15" fmla="*/ 0 h 1644"/>
                  <a:gd name="T16" fmla="*/ 0 w 3734"/>
                  <a:gd name="T17" fmla="*/ 0 h 1644"/>
                  <a:gd name="T18" fmla="*/ 0 w 3734"/>
                  <a:gd name="T19" fmla="*/ 0 h 1644"/>
                  <a:gd name="T20" fmla="*/ 0 w 3734"/>
                  <a:gd name="T21" fmla="*/ 0 h 1644"/>
                  <a:gd name="T22" fmla="*/ 0 w 3734"/>
                  <a:gd name="T23" fmla="*/ 0 h 1644"/>
                  <a:gd name="T24" fmla="*/ 0 w 3734"/>
                  <a:gd name="T25" fmla="*/ 0 h 1644"/>
                  <a:gd name="T26" fmla="*/ 0 w 3734"/>
                  <a:gd name="T27" fmla="*/ 0 h 1644"/>
                  <a:gd name="T28" fmla="*/ 0 w 3734"/>
                  <a:gd name="T29" fmla="*/ 0 h 1644"/>
                  <a:gd name="T30" fmla="*/ 0 w 3734"/>
                  <a:gd name="T31" fmla="*/ 0 h 1644"/>
                  <a:gd name="T32" fmla="*/ 0 w 3734"/>
                  <a:gd name="T33" fmla="*/ 0 h 1644"/>
                  <a:gd name="T34" fmla="*/ 0 w 3734"/>
                  <a:gd name="T35" fmla="*/ 0 h 1644"/>
                  <a:gd name="T36" fmla="*/ 0 w 3734"/>
                  <a:gd name="T37" fmla="*/ 0 h 1644"/>
                  <a:gd name="T38" fmla="*/ 0 w 3734"/>
                  <a:gd name="T39" fmla="*/ 0 h 1644"/>
                  <a:gd name="T40" fmla="*/ 0 w 3734"/>
                  <a:gd name="T41" fmla="*/ 0 h 1644"/>
                  <a:gd name="T42" fmla="*/ 0 w 3734"/>
                  <a:gd name="T43" fmla="*/ 0 h 1644"/>
                  <a:gd name="T44" fmla="*/ 0 w 3734"/>
                  <a:gd name="T45" fmla="*/ 0 h 1644"/>
                  <a:gd name="T46" fmla="*/ 0 w 3734"/>
                  <a:gd name="T47" fmla="*/ 0 h 1644"/>
                  <a:gd name="T48" fmla="*/ 0 w 3734"/>
                  <a:gd name="T49" fmla="*/ 0 h 1644"/>
                  <a:gd name="T50" fmla="*/ 0 w 3734"/>
                  <a:gd name="T51" fmla="*/ 0 h 1644"/>
                  <a:gd name="T52" fmla="*/ 0 w 3734"/>
                  <a:gd name="T53" fmla="*/ 0 h 1644"/>
                  <a:gd name="T54" fmla="*/ 0 w 3734"/>
                  <a:gd name="T55" fmla="*/ 0 h 1644"/>
                  <a:gd name="T56" fmla="*/ 0 w 3734"/>
                  <a:gd name="T57" fmla="*/ 0 h 1644"/>
                  <a:gd name="T58" fmla="*/ 0 w 3734"/>
                  <a:gd name="T59" fmla="*/ 0 h 1644"/>
                  <a:gd name="T60" fmla="*/ 0 w 3734"/>
                  <a:gd name="T61" fmla="*/ 0 h 1644"/>
                  <a:gd name="T62" fmla="*/ 0 w 3734"/>
                  <a:gd name="T63" fmla="*/ 0 h 1644"/>
                  <a:gd name="T64" fmla="*/ 0 w 3734"/>
                  <a:gd name="T65" fmla="*/ 0 h 1644"/>
                  <a:gd name="T66" fmla="*/ 0 w 3734"/>
                  <a:gd name="T67" fmla="*/ 0 h 1644"/>
                  <a:gd name="T68" fmla="*/ 0 w 3734"/>
                  <a:gd name="T69" fmla="*/ 0 h 1644"/>
                  <a:gd name="T70" fmla="*/ 0 w 3734"/>
                  <a:gd name="T71" fmla="*/ 0 h 1644"/>
                  <a:gd name="T72" fmla="*/ 0 w 3734"/>
                  <a:gd name="T73" fmla="*/ 0 h 1644"/>
                  <a:gd name="T74" fmla="*/ 0 w 3734"/>
                  <a:gd name="T75" fmla="*/ 0 h 1644"/>
                  <a:gd name="T76" fmla="*/ 0 w 3734"/>
                  <a:gd name="T77" fmla="*/ 0 h 1644"/>
                  <a:gd name="T78" fmla="*/ 0 w 3734"/>
                  <a:gd name="T79" fmla="*/ 0 h 1644"/>
                  <a:gd name="T80" fmla="*/ 0 w 3734"/>
                  <a:gd name="T81" fmla="*/ 0 h 1644"/>
                  <a:gd name="T82" fmla="*/ 0 w 3734"/>
                  <a:gd name="T83" fmla="*/ 0 h 1644"/>
                  <a:gd name="T84" fmla="*/ 0 w 3734"/>
                  <a:gd name="T85" fmla="*/ 0 h 1644"/>
                  <a:gd name="T86" fmla="*/ 0 w 3734"/>
                  <a:gd name="T87" fmla="*/ 0 h 1644"/>
                  <a:gd name="T88" fmla="*/ 0 w 3734"/>
                  <a:gd name="T89" fmla="*/ 0 h 1644"/>
                  <a:gd name="T90" fmla="*/ 0 w 3734"/>
                  <a:gd name="T91" fmla="*/ 0 h 1644"/>
                  <a:gd name="T92" fmla="*/ 0 w 3734"/>
                  <a:gd name="T93" fmla="*/ 0 h 1644"/>
                  <a:gd name="T94" fmla="*/ 0 w 3734"/>
                  <a:gd name="T95" fmla="*/ 0 h 1644"/>
                  <a:gd name="T96" fmla="*/ 0 w 3734"/>
                  <a:gd name="T97" fmla="*/ 0 h 1644"/>
                  <a:gd name="T98" fmla="*/ 0 w 3734"/>
                  <a:gd name="T99" fmla="*/ 0 h 1644"/>
                  <a:gd name="T100" fmla="*/ 0 w 3734"/>
                  <a:gd name="T101" fmla="*/ 0 h 1644"/>
                  <a:gd name="T102" fmla="*/ 0 w 3734"/>
                  <a:gd name="T103" fmla="*/ 0 h 1644"/>
                  <a:gd name="T104" fmla="*/ 0 w 3734"/>
                  <a:gd name="T105" fmla="*/ 0 h 1644"/>
                  <a:gd name="T106" fmla="*/ 0 w 3734"/>
                  <a:gd name="T107" fmla="*/ 0 h 1644"/>
                  <a:gd name="T108" fmla="*/ 0 w 3734"/>
                  <a:gd name="T109" fmla="*/ 0 h 1644"/>
                  <a:gd name="T110" fmla="*/ 0 w 3734"/>
                  <a:gd name="T111" fmla="*/ 0 h 1644"/>
                  <a:gd name="T112" fmla="*/ 0 w 3734"/>
                  <a:gd name="T113" fmla="*/ 0 h 1644"/>
                  <a:gd name="T114" fmla="*/ 0 w 3734"/>
                  <a:gd name="T115" fmla="*/ 0 h 1644"/>
                  <a:gd name="T116" fmla="*/ 0 w 3734"/>
                  <a:gd name="T117" fmla="*/ 0 h 1644"/>
                  <a:gd name="T118" fmla="*/ 0 w 3734"/>
                  <a:gd name="T119" fmla="*/ 0 h 1644"/>
                  <a:gd name="T120" fmla="*/ 0 w 3734"/>
                  <a:gd name="T121" fmla="*/ 0 h 1644"/>
                  <a:gd name="T122" fmla="*/ 0 w 3734"/>
                  <a:gd name="T123" fmla="*/ 0 h 1644"/>
                  <a:gd name="T124" fmla="*/ 0 w 3734"/>
                  <a:gd name="T125" fmla="*/ 0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734"/>
                  <a:gd name="T190" fmla="*/ 0 h 1644"/>
                  <a:gd name="T191" fmla="*/ 3734 w 3734"/>
                  <a:gd name="T192" fmla="*/ 1644 h 164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70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2"/>
                <a:gd name="T109" fmla="*/ 0 h 308"/>
                <a:gd name="T110" fmla="*/ 292 w 292"/>
                <a:gd name="T111" fmla="*/ 308 h 3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1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"/>
                <a:gd name="T17" fmla="*/ 14 w 1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2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1"/>
                <a:gd name="T160" fmla="*/ 0 h 955"/>
                <a:gd name="T161" fmla="*/ 581 w 581"/>
                <a:gd name="T162" fmla="*/ 955 h 9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3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5"/>
                <a:gd name="T16" fmla="*/ 0 h 36"/>
                <a:gd name="T17" fmla="*/ 45 w 45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74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</p:grpSpPr>
          <p:sp>
            <p:nvSpPr>
              <p:cNvPr id="15830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0 w 46"/>
                  <a:gd name="T1" fmla="*/ 0 h 51"/>
                  <a:gd name="T2" fmla="*/ 0 w 46"/>
                  <a:gd name="T3" fmla="*/ 0 h 51"/>
                  <a:gd name="T4" fmla="*/ 0 w 46"/>
                  <a:gd name="T5" fmla="*/ 0 h 51"/>
                  <a:gd name="T6" fmla="*/ 0 w 46"/>
                  <a:gd name="T7" fmla="*/ 0 h 51"/>
                  <a:gd name="T8" fmla="*/ 0 w 46"/>
                  <a:gd name="T9" fmla="*/ 0 h 51"/>
                  <a:gd name="T10" fmla="*/ 0 w 46"/>
                  <a:gd name="T11" fmla="*/ 0 h 51"/>
                  <a:gd name="T12" fmla="*/ 0 w 46"/>
                  <a:gd name="T13" fmla="*/ 0 h 51"/>
                  <a:gd name="T14" fmla="*/ 0 w 46"/>
                  <a:gd name="T15" fmla="*/ 0 h 51"/>
                  <a:gd name="T16" fmla="*/ 0 w 46"/>
                  <a:gd name="T17" fmla="*/ 0 h 51"/>
                  <a:gd name="T18" fmla="*/ 0 w 46"/>
                  <a:gd name="T19" fmla="*/ 0 h 51"/>
                  <a:gd name="T20" fmla="*/ 0 w 46"/>
                  <a:gd name="T21" fmla="*/ 0 h 51"/>
                  <a:gd name="T22" fmla="*/ 0 w 46"/>
                  <a:gd name="T23" fmla="*/ 0 h 51"/>
                  <a:gd name="T24" fmla="*/ 0 w 46"/>
                  <a:gd name="T25" fmla="*/ 0 h 51"/>
                  <a:gd name="T26" fmla="*/ 0 w 46"/>
                  <a:gd name="T27" fmla="*/ 0 h 51"/>
                  <a:gd name="T28" fmla="*/ 0 w 46"/>
                  <a:gd name="T29" fmla="*/ 0 h 51"/>
                  <a:gd name="T30" fmla="*/ 0 w 46"/>
                  <a:gd name="T31" fmla="*/ 0 h 51"/>
                  <a:gd name="T32" fmla="*/ 0 w 46"/>
                  <a:gd name="T33" fmla="*/ 0 h 51"/>
                  <a:gd name="T34" fmla="*/ 0 w 46"/>
                  <a:gd name="T35" fmla="*/ 0 h 51"/>
                  <a:gd name="T36" fmla="*/ 0 w 46"/>
                  <a:gd name="T37" fmla="*/ 0 h 51"/>
                  <a:gd name="T38" fmla="*/ 0 w 46"/>
                  <a:gd name="T39" fmla="*/ 0 h 51"/>
                  <a:gd name="T40" fmla="*/ 0 w 46"/>
                  <a:gd name="T41" fmla="*/ 0 h 51"/>
                  <a:gd name="T42" fmla="*/ 0 w 46"/>
                  <a:gd name="T43" fmla="*/ 0 h 51"/>
                  <a:gd name="T44" fmla="*/ 0 w 46"/>
                  <a:gd name="T45" fmla="*/ 0 h 51"/>
                  <a:gd name="T46" fmla="*/ 0 w 46"/>
                  <a:gd name="T47" fmla="*/ 0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6"/>
                  <a:gd name="T73" fmla="*/ 0 h 51"/>
                  <a:gd name="T74" fmla="*/ 46 w 46"/>
                  <a:gd name="T75" fmla="*/ 51 h 5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1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0 h 158"/>
                  <a:gd name="T4" fmla="*/ 0 w 192"/>
                  <a:gd name="T5" fmla="*/ 0 h 158"/>
                  <a:gd name="T6" fmla="*/ 0 w 192"/>
                  <a:gd name="T7" fmla="*/ 0 h 158"/>
                  <a:gd name="T8" fmla="*/ 0 w 192"/>
                  <a:gd name="T9" fmla="*/ 0 h 158"/>
                  <a:gd name="T10" fmla="*/ 0 w 192"/>
                  <a:gd name="T11" fmla="*/ 0 h 158"/>
                  <a:gd name="T12" fmla="*/ 0 w 192"/>
                  <a:gd name="T13" fmla="*/ 0 h 158"/>
                  <a:gd name="T14" fmla="*/ 0 w 192"/>
                  <a:gd name="T15" fmla="*/ 0 h 158"/>
                  <a:gd name="T16" fmla="*/ 0 w 192"/>
                  <a:gd name="T17" fmla="*/ 0 h 158"/>
                  <a:gd name="T18" fmla="*/ 0 w 192"/>
                  <a:gd name="T19" fmla="*/ 0 h 158"/>
                  <a:gd name="T20" fmla="*/ 0 w 192"/>
                  <a:gd name="T21" fmla="*/ 0 h 158"/>
                  <a:gd name="T22" fmla="*/ 0 w 192"/>
                  <a:gd name="T23" fmla="*/ 0 h 158"/>
                  <a:gd name="T24" fmla="*/ 0 w 192"/>
                  <a:gd name="T25" fmla="*/ 0 h 158"/>
                  <a:gd name="T26" fmla="*/ 0 w 192"/>
                  <a:gd name="T27" fmla="*/ 0 h 158"/>
                  <a:gd name="T28" fmla="*/ 0 w 192"/>
                  <a:gd name="T29" fmla="*/ 0 h 158"/>
                  <a:gd name="T30" fmla="*/ 0 w 192"/>
                  <a:gd name="T31" fmla="*/ 0 h 158"/>
                  <a:gd name="T32" fmla="*/ 0 w 192"/>
                  <a:gd name="T33" fmla="*/ 0 h 158"/>
                  <a:gd name="T34" fmla="*/ 0 w 192"/>
                  <a:gd name="T35" fmla="*/ 0 h 158"/>
                  <a:gd name="T36" fmla="*/ 0 w 192"/>
                  <a:gd name="T37" fmla="*/ 0 h 158"/>
                  <a:gd name="T38" fmla="*/ 0 w 192"/>
                  <a:gd name="T39" fmla="*/ 0 h 158"/>
                  <a:gd name="T40" fmla="*/ 0 w 192"/>
                  <a:gd name="T41" fmla="*/ 0 h 158"/>
                  <a:gd name="T42" fmla="*/ 0 w 192"/>
                  <a:gd name="T43" fmla="*/ 0 h 158"/>
                  <a:gd name="T44" fmla="*/ 0 w 192"/>
                  <a:gd name="T45" fmla="*/ 0 h 158"/>
                  <a:gd name="T46" fmla="*/ 0 w 192"/>
                  <a:gd name="T47" fmla="*/ 0 h 158"/>
                  <a:gd name="T48" fmla="*/ 0 w 192"/>
                  <a:gd name="T49" fmla="*/ 0 h 158"/>
                  <a:gd name="T50" fmla="*/ 0 w 192"/>
                  <a:gd name="T51" fmla="*/ 0 h 158"/>
                  <a:gd name="T52" fmla="*/ 0 w 192"/>
                  <a:gd name="T53" fmla="*/ 0 h 158"/>
                  <a:gd name="T54" fmla="*/ 0 w 192"/>
                  <a:gd name="T55" fmla="*/ 0 h 158"/>
                  <a:gd name="T56" fmla="*/ 0 w 192"/>
                  <a:gd name="T57" fmla="*/ 0 h 158"/>
                  <a:gd name="T58" fmla="*/ 0 w 192"/>
                  <a:gd name="T59" fmla="*/ 0 h 158"/>
                  <a:gd name="T60" fmla="*/ 0 w 192"/>
                  <a:gd name="T61" fmla="*/ 0 h 158"/>
                  <a:gd name="T62" fmla="*/ 0 w 192"/>
                  <a:gd name="T63" fmla="*/ 0 h 158"/>
                  <a:gd name="T64" fmla="*/ 0 w 192"/>
                  <a:gd name="T65" fmla="*/ 0 h 158"/>
                  <a:gd name="T66" fmla="*/ 0 w 192"/>
                  <a:gd name="T67" fmla="*/ 0 h 158"/>
                  <a:gd name="T68" fmla="*/ 0 w 192"/>
                  <a:gd name="T69" fmla="*/ 0 h 158"/>
                  <a:gd name="T70" fmla="*/ 0 w 192"/>
                  <a:gd name="T71" fmla="*/ 0 h 158"/>
                  <a:gd name="T72" fmla="*/ 0 w 192"/>
                  <a:gd name="T73" fmla="*/ 0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2"/>
                  <a:gd name="T115" fmla="*/ 0 h 158"/>
                  <a:gd name="T116" fmla="*/ 192 w 192"/>
                  <a:gd name="T117" fmla="*/ 158 h 15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2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0 w 884"/>
                  <a:gd name="T1" fmla="*/ 0 h 1818"/>
                  <a:gd name="T2" fmla="*/ 0 w 884"/>
                  <a:gd name="T3" fmla="*/ 0 h 1818"/>
                  <a:gd name="T4" fmla="*/ 0 w 884"/>
                  <a:gd name="T5" fmla="*/ 0 h 1818"/>
                  <a:gd name="T6" fmla="*/ 0 w 884"/>
                  <a:gd name="T7" fmla="*/ 0 h 1818"/>
                  <a:gd name="T8" fmla="*/ 0 w 884"/>
                  <a:gd name="T9" fmla="*/ 0 h 1818"/>
                  <a:gd name="T10" fmla="*/ 0 w 884"/>
                  <a:gd name="T11" fmla="*/ 0 h 1818"/>
                  <a:gd name="T12" fmla="*/ 0 w 884"/>
                  <a:gd name="T13" fmla="*/ 0 h 1818"/>
                  <a:gd name="T14" fmla="*/ 0 w 884"/>
                  <a:gd name="T15" fmla="*/ 0 h 1818"/>
                  <a:gd name="T16" fmla="*/ 0 w 884"/>
                  <a:gd name="T17" fmla="*/ 0 h 1818"/>
                  <a:gd name="T18" fmla="*/ 0 w 884"/>
                  <a:gd name="T19" fmla="*/ 0 h 1818"/>
                  <a:gd name="T20" fmla="*/ 0 w 884"/>
                  <a:gd name="T21" fmla="*/ 0 h 1818"/>
                  <a:gd name="T22" fmla="*/ 0 w 884"/>
                  <a:gd name="T23" fmla="*/ 0 h 1818"/>
                  <a:gd name="T24" fmla="*/ 0 w 884"/>
                  <a:gd name="T25" fmla="*/ 0 h 1818"/>
                  <a:gd name="T26" fmla="*/ 0 w 884"/>
                  <a:gd name="T27" fmla="*/ 0 h 1818"/>
                  <a:gd name="T28" fmla="*/ 0 w 884"/>
                  <a:gd name="T29" fmla="*/ 0 h 1818"/>
                  <a:gd name="T30" fmla="*/ 0 w 884"/>
                  <a:gd name="T31" fmla="*/ 0 h 1818"/>
                  <a:gd name="T32" fmla="*/ 0 w 884"/>
                  <a:gd name="T33" fmla="*/ 0 h 1818"/>
                  <a:gd name="T34" fmla="*/ 0 w 884"/>
                  <a:gd name="T35" fmla="*/ 0 h 1818"/>
                  <a:gd name="T36" fmla="*/ 0 w 884"/>
                  <a:gd name="T37" fmla="*/ 0 h 1818"/>
                  <a:gd name="T38" fmla="*/ 0 w 884"/>
                  <a:gd name="T39" fmla="*/ 0 h 1818"/>
                  <a:gd name="T40" fmla="*/ 0 w 884"/>
                  <a:gd name="T41" fmla="*/ 0 h 1818"/>
                  <a:gd name="T42" fmla="*/ 0 w 884"/>
                  <a:gd name="T43" fmla="*/ 0 h 1818"/>
                  <a:gd name="T44" fmla="*/ 0 w 884"/>
                  <a:gd name="T45" fmla="*/ 0 h 1818"/>
                  <a:gd name="T46" fmla="*/ 0 w 884"/>
                  <a:gd name="T47" fmla="*/ 0 h 1818"/>
                  <a:gd name="T48" fmla="*/ 0 w 884"/>
                  <a:gd name="T49" fmla="*/ 0 h 1818"/>
                  <a:gd name="T50" fmla="*/ 0 w 884"/>
                  <a:gd name="T51" fmla="*/ 0 h 1818"/>
                  <a:gd name="T52" fmla="*/ 0 w 884"/>
                  <a:gd name="T53" fmla="*/ 0 h 1818"/>
                  <a:gd name="T54" fmla="*/ 0 w 884"/>
                  <a:gd name="T55" fmla="*/ 0 h 1818"/>
                  <a:gd name="T56" fmla="*/ 0 w 884"/>
                  <a:gd name="T57" fmla="*/ 0 h 1818"/>
                  <a:gd name="T58" fmla="*/ 0 w 884"/>
                  <a:gd name="T59" fmla="*/ 0 h 1818"/>
                  <a:gd name="T60" fmla="*/ 0 w 884"/>
                  <a:gd name="T61" fmla="*/ 0 h 1818"/>
                  <a:gd name="T62" fmla="*/ 0 w 884"/>
                  <a:gd name="T63" fmla="*/ 0 h 1818"/>
                  <a:gd name="T64" fmla="*/ 0 w 884"/>
                  <a:gd name="T65" fmla="*/ 0 h 1818"/>
                  <a:gd name="T66" fmla="*/ 0 w 884"/>
                  <a:gd name="T67" fmla="*/ 0 h 1818"/>
                  <a:gd name="T68" fmla="*/ 0 w 884"/>
                  <a:gd name="T69" fmla="*/ 0 h 1818"/>
                  <a:gd name="T70" fmla="*/ 0 w 884"/>
                  <a:gd name="T71" fmla="*/ 0 h 1818"/>
                  <a:gd name="T72" fmla="*/ 0 w 884"/>
                  <a:gd name="T73" fmla="*/ 0 h 1818"/>
                  <a:gd name="T74" fmla="*/ 0 w 884"/>
                  <a:gd name="T75" fmla="*/ 0 h 1818"/>
                  <a:gd name="T76" fmla="*/ 0 w 884"/>
                  <a:gd name="T77" fmla="*/ 0 h 1818"/>
                  <a:gd name="T78" fmla="*/ 0 w 884"/>
                  <a:gd name="T79" fmla="*/ 0 h 1818"/>
                  <a:gd name="T80" fmla="*/ 0 w 884"/>
                  <a:gd name="T81" fmla="*/ 0 h 1818"/>
                  <a:gd name="T82" fmla="*/ 0 w 884"/>
                  <a:gd name="T83" fmla="*/ 0 h 1818"/>
                  <a:gd name="T84" fmla="*/ 0 w 884"/>
                  <a:gd name="T85" fmla="*/ 0 h 1818"/>
                  <a:gd name="T86" fmla="*/ 0 w 884"/>
                  <a:gd name="T87" fmla="*/ 0 h 1818"/>
                  <a:gd name="T88" fmla="*/ 0 w 884"/>
                  <a:gd name="T89" fmla="*/ 0 h 1818"/>
                  <a:gd name="T90" fmla="*/ 0 w 884"/>
                  <a:gd name="T91" fmla="*/ 0 h 1818"/>
                  <a:gd name="T92" fmla="*/ 0 w 884"/>
                  <a:gd name="T93" fmla="*/ 0 h 1818"/>
                  <a:gd name="T94" fmla="*/ 0 w 884"/>
                  <a:gd name="T95" fmla="*/ 0 h 1818"/>
                  <a:gd name="T96" fmla="*/ 0 w 884"/>
                  <a:gd name="T97" fmla="*/ 0 h 1818"/>
                  <a:gd name="T98" fmla="*/ 0 w 884"/>
                  <a:gd name="T99" fmla="*/ 0 h 1818"/>
                  <a:gd name="T100" fmla="*/ 0 w 884"/>
                  <a:gd name="T101" fmla="*/ 0 h 1818"/>
                  <a:gd name="T102" fmla="*/ 0 w 884"/>
                  <a:gd name="T103" fmla="*/ 0 h 1818"/>
                  <a:gd name="T104" fmla="*/ 0 w 884"/>
                  <a:gd name="T105" fmla="*/ 0 h 1818"/>
                  <a:gd name="T106" fmla="*/ 0 w 884"/>
                  <a:gd name="T107" fmla="*/ 0 h 1818"/>
                  <a:gd name="T108" fmla="*/ 0 w 884"/>
                  <a:gd name="T109" fmla="*/ 0 h 1818"/>
                  <a:gd name="T110" fmla="*/ 0 w 884"/>
                  <a:gd name="T111" fmla="*/ 0 h 1818"/>
                  <a:gd name="T112" fmla="*/ 0 w 884"/>
                  <a:gd name="T113" fmla="*/ 0 h 1818"/>
                  <a:gd name="T114" fmla="*/ 0 w 884"/>
                  <a:gd name="T115" fmla="*/ 0 h 1818"/>
                  <a:gd name="T116" fmla="*/ 0 w 884"/>
                  <a:gd name="T117" fmla="*/ 0 h 1818"/>
                  <a:gd name="T118" fmla="*/ 0 w 884"/>
                  <a:gd name="T119" fmla="*/ 0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84"/>
                  <a:gd name="T181" fmla="*/ 0 h 1818"/>
                  <a:gd name="T182" fmla="*/ 884 w 884"/>
                  <a:gd name="T183" fmla="*/ 1818 h 181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75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9"/>
                <a:gd name="T100" fmla="*/ 0 h 204"/>
                <a:gd name="T101" fmla="*/ 279 w 279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6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5"/>
                <a:gd name="T115" fmla="*/ 0 h 291"/>
                <a:gd name="T116" fmla="*/ 485 w 485"/>
                <a:gd name="T117" fmla="*/ 291 h 29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7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6"/>
                <a:gd name="T94" fmla="*/ 0 h 166"/>
                <a:gd name="T95" fmla="*/ 186 w 186"/>
                <a:gd name="T96" fmla="*/ 166 h 16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8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6"/>
                <a:gd name="T148" fmla="*/ 0 h 104"/>
                <a:gd name="T149" fmla="*/ 186 w 186"/>
                <a:gd name="T150" fmla="*/ 104 h 1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9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2147483647 h 179"/>
                <a:gd name="T6" fmla="*/ 2147483647 w 311"/>
                <a:gd name="T7" fmla="*/ 2147483647 h 179"/>
                <a:gd name="T8" fmla="*/ 2147483647 w 311"/>
                <a:gd name="T9" fmla="*/ 0 h 179"/>
                <a:gd name="T10" fmla="*/ 2147483647 w 311"/>
                <a:gd name="T11" fmla="*/ 2147483647 h 179"/>
                <a:gd name="T12" fmla="*/ 2147483647 w 311"/>
                <a:gd name="T13" fmla="*/ 2147483647 h 179"/>
                <a:gd name="T14" fmla="*/ 2147483647 w 311"/>
                <a:gd name="T15" fmla="*/ 2147483647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2147483647 w 311"/>
                <a:gd name="T67" fmla="*/ 2147483647 h 179"/>
                <a:gd name="T68" fmla="*/ 2147483647 w 311"/>
                <a:gd name="T69" fmla="*/ 2147483647 h 179"/>
                <a:gd name="T70" fmla="*/ 2147483647 w 311"/>
                <a:gd name="T71" fmla="*/ 2147483647 h 179"/>
                <a:gd name="T72" fmla="*/ 2147483647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2147483647 w 311"/>
                <a:gd name="T79" fmla="*/ 2147483647 h 179"/>
                <a:gd name="T80" fmla="*/ 2147483647 w 311"/>
                <a:gd name="T81" fmla="*/ 2147483647 h 179"/>
                <a:gd name="T82" fmla="*/ 2147483647 w 311"/>
                <a:gd name="T83" fmla="*/ 2147483647 h 179"/>
                <a:gd name="T84" fmla="*/ 2147483647 w 311"/>
                <a:gd name="T85" fmla="*/ 2147483647 h 179"/>
                <a:gd name="T86" fmla="*/ 2147483647 w 311"/>
                <a:gd name="T87" fmla="*/ 2147483647 h 179"/>
                <a:gd name="T88" fmla="*/ 2147483647 w 311"/>
                <a:gd name="T89" fmla="*/ 2147483647 h 179"/>
                <a:gd name="T90" fmla="*/ 2147483647 w 311"/>
                <a:gd name="T91" fmla="*/ 2147483647 h 179"/>
                <a:gd name="T92" fmla="*/ 2147483647 w 311"/>
                <a:gd name="T93" fmla="*/ 2147483647 h 179"/>
                <a:gd name="T94" fmla="*/ 2147483647 w 311"/>
                <a:gd name="T95" fmla="*/ 2147483647 h 179"/>
                <a:gd name="T96" fmla="*/ 2147483647 w 311"/>
                <a:gd name="T97" fmla="*/ 2147483647 h 179"/>
                <a:gd name="T98" fmla="*/ 2147483647 w 311"/>
                <a:gd name="T99" fmla="*/ 2147483647 h 179"/>
                <a:gd name="T100" fmla="*/ 0 w 311"/>
                <a:gd name="T101" fmla="*/ 2147483647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11"/>
                <a:gd name="T154" fmla="*/ 0 h 179"/>
                <a:gd name="T155" fmla="*/ 311 w 311"/>
                <a:gd name="T156" fmla="*/ 179 h 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0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5"/>
                <a:gd name="T160" fmla="*/ 0 h 314"/>
                <a:gd name="T161" fmla="*/ 405 w 405"/>
                <a:gd name="T162" fmla="*/ 314 h 3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1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3"/>
                <a:gd name="T148" fmla="*/ 0 h 661"/>
                <a:gd name="T149" fmla="*/ 453 w 453"/>
                <a:gd name="T150" fmla="*/ 661 h 6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2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6"/>
                <a:gd name="T118" fmla="*/ 0 h 105"/>
                <a:gd name="T119" fmla="*/ 126 w 126"/>
                <a:gd name="T120" fmla="*/ 105 h 1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3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4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9"/>
                <a:gd name="T190" fmla="*/ 0 h 524"/>
                <a:gd name="T191" fmla="*/ 429 w 429"/>
                <a:gd name="T192" fmla="*/ 524 h 52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5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2147483647 w 292"/>
                <a:gd name="T45" fmla="*/ 2147483647 h 223"/>
                <a:gd name="T46" fmla="*/ 2147483647 w 292"/>
                <a:gd name="T47" fmla="*/ 2147483647 h 223"/>
                <a:gd name="T48" fmla="*/ 2147483647 w 292"/>
                <a:gd name="T49" fmla="*/ 2147483647 h 223"/>
                <a:gd name="T50" fmla="*/ 2147483647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2147483647 h 223"/>
                <a:gd name="T66" fmla="*/ 2147483647 w 292"/>
                <a:gd name="T67" fmla="*/ 0 h 223"/>
                <a:gd name="T68" fmla="*/ 2147483647 w 292"/>
                <a:gd name="T69" fmla="*/ 2147483647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2"/>
                <a:gd name="T130" fmla="*/ 0 h 223"/>
                <a:gd name="T131" fmla="*/ 292 w 292"/>
                <a:gd name="T132" fmla="*/ 223 h 2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6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2147483647 w 379"/>
                <a:gd name="T1" fmla="*/ 2147483647 h 147"/>
                <a:gd name="T2" fmla="*/ 2147483647 w 379"/>
                <a:gd name="T3" fmla="*/ 2147483647 h 147"/>
                <a:gd name="T4" fmla="*/ 2147483647 w 379"/>
                <a:gd name="T5" fmla="*/ 2147483647 h 147"/>
                <a:gd name="T6" fmla="*/ 2147483647 w 379"/>
                <a:gd name="T7" fmla="*/ 2147483647 h 147"/>
                <a:gd name="T8" fmla="*/ 2147483647 w 379"/>
                <a:gd name="T9" fmla="*/ 2147483647 h 147"/>
                <a:gd name="T10" fmla="*/ 2147483647 w 379"/>
                <a:gd name="T11" fmla="*/ 2147483647 h 147"/>
                <a:gd name="T12" fmla="*/ 2147483647 w 379"/>
                <a:gd name="T13" fmla="*/ 2147483647 h 147"/>
                <a:gd name="T14" fmla="*/ 2147483647 w 379"/>
                <a:gd name="T15" fmla="*/ 2147483647 h 147"/>
                <a:gd name="T16" fmla="*/ 2147483647 w 379"/>
                <a:gd name="T17" fmla="*/ 2147483647 h 147"/>
                <a:gd name="T18" fmla="*/ 2147483647 w 379"/>
                <a:gd name="T19" fmla="*/ 2147483647 h 147"/>
                <a:gd name="T20" fmla="*/ 2147483647 w 379"/>
                <a:gd name="T21" fmla="*/ 2147483647 h 147"/>
                <a:gd name="T22" fmla="*/ 2147483647 w 379"/>
                <a:gd name="T23" fmla="*/ 2147483647 h 147"/>
                <a:gd name="T24" fmla="*/ 2147483647 w 379"/>
                <a:gd name="T25" fmla="*/ 2147483647 h 147"/>
                <a:gd name="T26" fmla="*/ 2147483647 w 379"/>
                <a:gd name="T27" fmla="*/ 2147483647 h 147"/>
                <a:gd name="T28" fmla="*/ 2147483647 w 379"/>
                <a:gd name="T29" fmla="*/ 2147483647 h 147"/>
                <a:gd name="T30" fmla="*/ 2147483647 w 379"/>
                <a:gd name="T31" fmla="*/ 2147483647 h 147"/>
                <a:gd name="T32" fmla="*/ 2147483647 w 379"/>
                <a:gd name="T33" fmla="*/ 2147483647 h 147"/>
                <a:gd name="T34" fmla="*/ 2147483647 w 379"/>
                <a:gd name="T35" fmla="*/ 2147483647 h 147"/>
                <a:gd name="T36" fmla="*/ 2147483647 w 379"/>
                <a:gd name="T37" fmla="*/ 2147483647 h 147"/>
                <a:gd name="T38" fmla="*/ 2147483647 w 379"/>
                <a:gd name="T39" fmla="*/ 2147483647 h 147"/>
                <a:gd name="T40" fmla="*/ 2147483647 w 379"/>
                <a:gd name="T41" fmla="*/ 2147483647 h 147"/>
                <a:gd name="T42" fmla="*/ 2147483647 w 379"/>
                <a:gd name="T43" fmla="*/ 2147483647 h 147"/>
                <a:gd name="T44" fmla="*/ 2147483647 w 379"/>
                <a:gd name="T45" fmla="*/ 2147483647 h 147"/>
                <a:gd name="T46" fmla="*/ 2147483647 w 379"/>
                <a:gd name="T47" fmla="*/ 2147483647 h 147"/>
                <a:gd name="T48" fmla="*/ 0 w 379"/>
                <a:gd name="T49" fmla="*/ 2147483647 h 147"/>
                <a:gd name="T50" fmla="*/ 2147483647 w 379"/>
                <a:gd name="T51" fmla="*/ 2147483647 h 147"/>
                <a:gd name="T52" fmla="*/ 2147483647 w 379"/>
                <a:gd name="T53" fmla="*/ 2147483647 h 147"/>
                <a:gd name="T54" fmla="*/ 2147483647 w 379"/>
                <a:gd name="T55" fmla="*/ 2147483647 h 147"/>
                <a:gd name="T56" fmla="*/ 2147483647 w 379"/>
                <a:gd name="T57" fmla="*/ 2147483647 h 147"/>
                <a:gd name="T58" fmla="*/ 2147483647 w 379"/>
                <a:gd name="T59" fmla="*/ 2147483647 h 147"/>
                <a:gd name="T60" fmla="*/ 2147483647 w 379"/>
                <a:gd name="T61" fmla="*/ 2147483647 h 147"/>
                <a:gd name="T62" fmla="*/ 2147483647 w 379"/>
                <a:gd name="T63" fmla="*/ 0 h 147"/>
                <a:gd name="T64" fmla="*/ 2147483647 w 379"/>
                <a:gd name="T65" fmla="*/ 2147483647 h 147"/>
                <a:gd name="T66" fmla="*/ 2147483647 w 379"/>
                <a:gd name="T67" fmla="*/ 2147483647 h 147"/>
                <a:gd name="T68" fmla="*/ 2147483647 w 379"/>
                <a:gd name="T69" fmla="*/ 2147483647 h 147"/>
                <a:gd name="T70" fmla="*/ 2147483647 w 379"/>
                <a:gd name="T71" fmla="*/ 2147483647 h 147"/>
                <a:gd name="T72" fmla="*/ 2147483647 w 379"/>
                <a:gd name="T73" fmla="*/ 2147483647 h 147"/>
                <a:gd name="T74" fmla="*/ 2147483647 w 379"/>
                <a:gd name="T75" fmla="*/ 2147483647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9"/>
                <a:gd name="T115" fmla="*/ 0 h 147"/>
                <a:gd name="T116" fmla="*/ 379 w 379"/>
                <a:gd name="T117" fmla="*/ 147 h 14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7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1"/>
                <a:gd name="T76" fmla="*/ 0 h 67"/>
                <a:gd name="T77" fmla="*/ 61 w 61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8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0"/>
                <a:gd name="T67" fmla="*/ 0 h 55"/>
                <a:gd name="T68" fmla="*/ 60 w 60"/>
                <a:gd name="T69" fmla="*/ 55 h 5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9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0"/>
                <a:gd name="T181" fmla="*/ 0 h 148"/>
                <a:gd name="T182" fmla="*/ 120 w 120"/>
                <a:gd name="T183" fmla="*/ 148 h 14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0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1"/>
                <a:gd name="T169" fmla="*/ 0 h 592"/>
                <a:gd name="T170" fmla="*/ 631 w 631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1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0"/>
                <a:gd name="T82" fmla="*/ 0 h 93"/>
                <a:gd name="T83" fmla="*/ 40 w 40"/>
                <a:gd name="T84" fmla="*/ 93 h 9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2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81438" y="2047875"/>
              <a:ext cx="295275" cy="273050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2147483647 w 664"/>
                <a:gd name="T15" fmla="*/ 2147483647 h 518"/>
                <a:gd name="T16" fmla="*/ 2147483647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2147483647 h 518"/>
                <a:gd name="T44" fmla="*/ 2147483647 w 664"/>
                <a:gd name="T45" fmla="*/ 214748364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64"/>
                <a:gd name="T187" fmla="*/ 0 h 518"/>
                <a:gd name="T188" fmla="*/ 664 w 664"/>
                <a:gd name="T189" fmla="*/ 518 h 51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3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153"/>
                <a:gd name="T116" fmla="*/ 352 w 352"/>
                <a:gd name="T117" fmla="*/ 153 h 1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4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31"/>
                <a:gd name="T145" fmla="*/ 0 h 327"/>
                <a:gd name="T146" fmla="*/ 331 w 331"/>
                <a:gd name="T147" fmla="*/ 327 h 3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5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3"/>
                <a:gd name="T79" fmla="*/ 0 h 49"/>
                <a:gd name="T80" fmla="*/ 153 w 153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6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26"/>
                <a:gd name="T181" fmla="*/ 0 h 299"/>
                <a:gd name="T182" fmla="*/ 426 w 426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7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4"/>
                <a:gd name="T172" fmla="*/ 0 h 1670"/>
                <a:gd name="T173" fmla="*/ 1594 w 1594"/>
                <a:gd name="T174" fmla="*/ 1670 h 16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8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59"/>
                <a:gd name="T175" fmla="*/ 0 h 394"/>
                <a:gd name="T176" fmla="*/ 359 w 359"/>
                <a:gd name="T177" fmla="*/ 394 h 39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97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713" y="3520953"/>
              <a:ext cx="192219" cy="271512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9"/>
                <a:gd name="T166" fmla="*/ 0 h 523"/>
                <a:gd name="T167" fmla="*/ 449 w 449"/>
                <a:gd name="T168" fmla="*/ 523 h 52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700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6"/>
                <a:gd name="T103" fmla="*/ 0 h 246"/>
                <a:gd name="T104" fmla="*/ 226 w 226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1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0"/>
                <a:gd name="T73" fmla="*/ 0 h 81"/>
                <a:gd name="T74" fmla="*/ 60 w 60"/>
                <a:gd name="T75" fmla="*/ 81 h 8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2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2147483647 h 129"/>
                <a:gd name="T22" fmla="*/ 2147483647 w 370"/>
                <a:gd name="T23" fmla="*/ 2147483647 h 129"/>
                <a:gd name="T24" fmla="*/ 2147483647 w 370"/>
                <a:gd name="T25" fmla="*/ 2147483647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2147483647 h 129"/>
                <a:gd name="T32" fmla="*/ 2147483647 w 370"/>
                <a:gd name="T33" fmla="*/ 2147483647 h 129"/>
                <a:gd name="T34" fmla="*/ 2147483647 w 370"/>
                <a:gd name="T35" fmla="*/ 2147483647 h 129"/>
                <a:gd name="T36" fmla="*/ 2147483647 w 370"/>
                <a:gd name="T37" fmla="*/ 2147483647 h 129"/>
                <a:gd name="T38" fmla="*/ 2147483647 w 370"/>
                <a:gd name="T39" fmla="*/ 2147483647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2147483647 w 370"/>
                <a:gd name="T63" fmla="*/ 2147483647 h 129"/>
                <a:gd name="T64" fmla="*/ 2147483647 w 370"/>
                <a:gd name="T65" fmla="*/ 2147483647 h 129"/>
                <a:gd name="T66" fmla="*/ 2147483647 w 370"/>
                <a:gd name="T67" fmla="*/ 2147483647 h 129"/>
                <a:gd name="T68" fmla="*/ 2147483647 w 370"/>
                <a:gd name="T69" fmla="*/ 2147483647 h 129"/>
                <a:gd name="T70" fmla="*/ 2147483647 w 370"/>
                <a:gd name="T71" fmla="*/ 2147483647 h 129"/>
                <a:gd name="T72" fmla="*/ 2147483647 w 370"/>
                <a:gd name="T73" fmla="*/ 2147483647 h 129"/>
                <a:gd name="T74" fmla="*/ 2147483647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2147483647 w 370"/>
                <a:gd name="T81" fmla="*/ 2147483647 h 129"/>
                <a:gd name="T82" fmla="*/ 2147483647 w 370"/>
                <a:gd name="T83" fmla="*/ 2147483647 h 129"/>
                <a:gd name="T84" fmla="*/ 2147483647 w 370"/>
                <a:gd name="T85" fmla="*/ 2147483647 h 129"/>
                <a:gd name="T86" fmla="*/ 2147483647 w 370"/>
                <a:gd name="T87" fmla="*/ 2147483647 h 129"/>
                <a:gd name="T88" fmla="*/ 2147483647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0"/>
                <a:gd name="T181" fmla="*/ 0 h 129"/>
                <a:gd name="T182" fmla="*/ 370 w 370"/>
                <a:gd name="T183" fmla="*/ 129 h 12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3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0"/>
                <a:gd name="T91" fmla="*/ 0 h 94"/>
                <a:gd name="T92" fmla="*/ 80 w 80"/>
                <a:gd name="T93" fmla="*/ 94 h 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4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5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2147483647 h 155"/>
                <a:gd name="T62" fmla="*/ 2147483647 w 312"/>
                <a:gd name="T63" fmla="*/ 2147483647 h 155"/>
                <a:gd name="T64" fmla="*/ 2147483647 w 312"/>
                <a:gd name="T65" fmla="*/ 2147483647 h 155"/>
                <a:gd name="T66" fmla="*/ 2147483647 w 312"/>
                <a:gd name="T67" fmla="*/ 2147483647 h 155"/>
                <a:gd name="T68" fmla="*/ 2147483647 w 312"/>
                <a:gd name="T69" fmla="*/ 2147483647 h 155"/>
                <a:gd name="T70" fmla="*/ 2147483647 w 312"/>
                <a:gd name="T71" fmla="*/ 0 h 155"/>
                <a:gd name="T72" fmla="*/ 2147483647 w 312"/>
                <a:gd name="T73" fmla="*/ 2147483647 h 155"/>
                <a:gd name="T74" fmla="*/ 2147483647 w 312"/>
                <a:gd name="T75" fmla="*/ 2147483647 h 155"/>
                <a:gd name="T76" fmla="*/ 2147483647 w 312"/>
                <a:gd name="T77" fmla="*/ 2147483647 h 155"/>
                <a:gd name="T78" fmla="*/ 2147483647 w 312"/>
                <a:gd name="T79" fmla="*/ 2147483647 h 155"/>
                <a:gd name="T80" fmla="*/ 2147483647 w 312"/>
                <a:gd name="T81" fmla="*/ 2147483647 h 155"/>
                <a:gd name="T82" fmla="*/ 2147483647 w 312"/>
                <a:gd name="T83" fmla="*/ 2147483647 h 155"/>
                <a:gd name="T84" fmla="*/ 2147483647 w 312"/>
                <a:gd name="T85" fmla="*/ 2147483647 h 155"/>
                <a:gd name="T86" fmla="*/ 2147483647 w 312"/>
                <a:gd name="T87" fmla="*/ 2147483647 h 155"/>
                <a:gd name="T88" fmla="*/ 2147483647 w 312"/>
                <a:gd name="T89" fmla="*/ 2147483647 h 155"/>
                <a:gd name="T90" fmla="*/ 2147483647 w 312"/>
                <a:gd name="T91" fmla="*/ 2147483647 h 155"/>
                <a:gd name="T92" fmla="*/ 2147483647 w 312"/>
                <a:gd name="T93" fmla="*/ 2147483647 h 155"/>
                <a:gd name="T94" fmla="*/ 2147483647 w 312"/>
                <a:gd name="T95" fmla="*/ 2147483647 h 155"/>
                <a:gd name="T96" fmla="*/ 2147483647 w 312"/>
                <a:gd name="T97" fmla="*/ 2147483647 h 155"/>
                <a:gd name="T98" fmla="*/ 2147483647 w 312"/>
                <a:gd name="T99" fmla="*/ 2147483647 h 155"/>
                <a:gd name="T100" fmla="*/ 2147483647 w 312"/>
                <a:gd name="T101" fmla="*/ 2147483647 h 155"/>
                <a:gd name="T102" fmla="*/ 2147483647 w 312"/>
                <a:gd name="T103" fmla="*/ 2147483647 h 155"/>
                <a:gd name="T104" fmla="*/ 2147483647 w 312"/>
                <a:gd name="T105" fmla="*/ 2147483647 h 155"/>
                <a:gd name="T106" fmla="*/ 2147483647 w 312"/>
                <a:gd name="T107" fmla="*/ 2147483647 h 155"/>
                <a:gd name="T108" fmla="*/ 2147483647 w 312"/>
                <a:gd name="T109" fmla="*/ 2147483647 h 155"/>
                <a:gd name="T110" fmla="*/ 2147483647 w 312"/>
                <a:gd name="T111" fmla="*/ 2147483647 h 155"/>
                <a:gd name="T112" fmla="*/ 2147483647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2"/>
                <a:gd name="T187" fmla="*/ 0 h 155"/>
                <a:gd name="T188" fmla="*/ 312 w 3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6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2147483647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2147483647 w 46"/>
                <a:gd name="T23" fmla="*/ 2147483647 h 50"/>
                <a:gd name="T24" fmla="*/ 2147483647 w 46"/>
                <a:gd name="T25" fmla="*/ 2147483647 h 50"/>
                <a:gd name="T26" fmla="*/ 2147483647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50"/>
                <a:gd name="T47" fmla="*/ 46 w 46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7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6"/>
                <a:gd name="T154" fmla="*/ 0 h 456"/>
                <a:gd name="T155" fmla="*/ 166 w 166"/>
                <a:gd name="T156" fmla="*/ 456 h 4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8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9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8"/>
                <a:gd name="T166" fmla="*/ 0 h 406"/>
                <a:gd name="T167" fmla="*/ 438 w 438"/>
                <a:gd name="T168" fmla="*/ 406 h 4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0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78"/>
                <a:gd name="T178" fmla="*/ 0 h 574"/>
                <a:gd name="T179" fmla="*/ 678 w 678"/>
                <a:gd name="T180" fmla="*/ 574 h 5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1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10"/>
                <a:gd name="T157" fmla="*/ 0 h 727"/>
                <a:gd name="T158" fmla="*/ 810 w 810"/>
                <a:gd name="T159" fmla="*/ 727 h 7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2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65"/>
                <a:gd name="T178" fmla="*/ 0 h 271"/>
                <a:gd name="T179" fmla="*/ 365 w 365"/>
                <a:gd name="T180" fmla="*/ 271 h 2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3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24"/>
                <a:gd name="T160" fmla="*/ 0 h 640"/>
                <a:gd name="T161" fmla="*/ 624 w 624"/>
                <a:gd name="T162" fmla="*/ 640 h 6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4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0"/>
                <a:gd name="T50" fmla="*/ 52 w 52"/>
                <a:gd name="T51" fmla="*/ 50 h 5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5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0"/>
                <a:gd name="T178" fmla="*/ 0 h 234"/>
                <a:gd name="T179" fmla="*/ 320 w 320"/>
                <a:gd name="T180" fmla="*/ 234 h 2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6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5"/>
                <a:gd name="T127" fmla="*/ 0 h 93"/>
                <a:gd name="T128" fmla="*/ 125 w 125"/>
                <a:gd name="T129" fmla="*/ 93 h 9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7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3"/>
                <a:gd name="T166" fmla="*/ 0 h 154"/>
                <a:gd name="T167" fmla="*/ 133 w 133"/>
                <a:gd name="T168" fmla="*/ 154 h 1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8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5"/>
                <a:gd name="T190" fmla="*/ 0 h 468"/>
                <a:gd name="T191" fmla="*/ 485 w 485"/>
                <a:gd name="T192" fmla="*/ 468 h 46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9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0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1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2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00"/>
                <a:gd name="T82" fmla="*/ 0 h 42"/>
                <a:gd name="T83" fmla="*/ 100 w 100"/>
                <a:gd name="T84" fmla="*/ 42 h 4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3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5"/>
                <a:gd name="T32" fmla="*/ 40 w 4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4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5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1"/>
                <a:gd name="T37" fmla="*/ 0 h 43"/>
                <a:gd name="T38" fmla="*/ 41 w 41"/>
                <a:gd name="T39" fmla="*/ 4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6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3"/>
                <a:gd name="T118" fmla="*/ 0 h 62"/>
                <a:gd name="T119" fmla="*/ 213 w 213"/>
                <a:gd name="T120" fmla="*/ 62 h 6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7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9"/>
                <a:gd name="T163" fmla="*/ 0 h 56"/>
                <a:gd name="T164" fmla="*/ 239 w 239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8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80"/>
                <a:gd name="T122" fmla="*/ 187 w 187"/>
                <a:gd name="T123" fmla="*/ 80 h 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9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83"/>
                <a:gd name="T103" fmla="*/ 0 h 73"/>
                <a:gd name="T104" fmla="*/ 183 w 183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0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42"/>
                <a:gd name="T77" fmla="*/ 79 w 79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1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2147483647 w 113"/>
                <a:gd name="T25" fmla="*/ 2147483647 h 52"/>
                <a:gd name="T26" fmla="*/ 2147483647 w 113"/>
                <a:gd name="T27" fmla="*/ 2147483647 h 52"/>
                <a:gd name="T28" fmla="*/ 2147483647 w 113"/>
                <a:gd name="T29" fmla="*/ 2147483647 h 52"/>
                <a:gd name="T30" fmla="*/ 2147483647 w 113"/>
                <a:gd name="T31" fmla="*/ 2147483647 h 52"/>
                <a:gd name="T32" fmla="*/ 2147483647 w 113"/>
                <a:gd name="T33" fmla="*/ 2147483647 h 52"/>
                <a:gd name="T34" fmla="*/ 2147483647 w 113"/>
                <a:gd name="T35" fmla="*/ 2147483647 h 52"/>
                <a:gd name="T36" fmla="*/ 0 w 113"/>
                <a:gd name="T37" fmla="*/ 2147483647 h 52"/>
                <a:gd name="T38" fmla="*/ 2147483647 w 113"/>
                <a:gd name="T39" fmla="*/ 2147483647 h 52"/>
                <a:gd name="T40" fmla="*/ 2147483647 w 113"/>
                <a:gd name="T41" fmla="*/ 2147483647 h 52"/>
                <a:gd name="T42" fmla="*/ 2147483647 w 113"/>
                <a:gd name="T43" fmla="*/ 2147483647 h 52"/>
                <a:gd name="T44" fmla="*/ 2147483647 w 113"/>
                <a:gd name="T45" fmla="*/ 2147483647 h 52"/>
                <a:gd name="T46" fmla="*/ 2147483647 w 113"/>
                <a:gd name="T47" fmla="*/ 2147483647 h 52"/>
                <a:gd name="T48" fmla="*/ 2147483647 w 113"/>
                <a:gd name="T49" fmla="*/ 2147483647 h 52"/>
                <a:gd name="T50" fmla="*/ 2147483647 w 113"/>
                <a:gd name="T51" fmla="*/ 2147483647 h 52"/>
                <a:gd name="T52" fmla="*/ 2147483647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3"/>
                <a:gd name="T106" fmla="*/ 0 h 52"/>
                <a:gd name="T107" fmla="*/ 113 w 113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2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2147483647 h 40"/>
                <a:gd name="T2" fmla="*/ 2147483647 w 139"/>
                <a:gd name="T3" fmla="*/ 2147483647 h 40"/>
                <a:gd name="T4" fmla="*/ 2147483647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147483647 w 139"/>
                <a:gd name="T35" fmla="*/ 2147483647 h 40"/>
                <a:gd name="T36" fmla="*/ 2147483647 w 139"/>
                <a:gd name="T37" fmla="*/ 2147483647 h 40"/>
                <a:gd name="T38" fmla="*/ 2147483647 w 139"/>
                <a:gd name="T39" fmla="*/ 2147483647 h 40"/>
                <a:gd name="T40" fmla="*/ 2147483647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9"/>
                <a:gd name="T67" fmla="*/ 0 h 40"/>
                <a:gd name="T68" fmla="*/ 139 w 139"/>
                <a:gd name="T69" fmla="*/ 40 h 4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3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5"/>
                <a:gd name="T97" fmla="*/ 0 h 71"/>
                <a:gd name="T98" fmla="*/ 325 w 325"/>
                <a:gd name="T99" fmla="*/ 71 h 7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4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2147483647 w 220"/>
                <a:gd name="T89" fmla="*/ 2147483647 h 72"/>
                <a:gd name="T90" fmla="*/ 2147483647 w 220"/>
                <a:gd name="T91" fmla="*/ 2147483647 h 72"/>
                <a:gd name="T92" fmla="*/ 2147483647 w 220"/>
                <a:gd name="T93" fmla="*/ 2147483647 h 72"/>
                <a:gd name="T94" fmla="*/ 2147483647 w 220"/>
                <a:gd name="T95" fmla="*/ 2147483647 h 72"/>
                <a:gd name="T96" fmla="*/ 2147483647 w 220"/>
                <a:gd name="T97" fmla="*/ 2147483647 h 72"/>
                <a:gd name="T98" fmla="*/ 2147483647 w 220"/>
                <a:gd name="T99" fmla="*/ 2147483647 h 72"/>
                <a:gd name="T100" fmla="*/ 2147483647 w 220"/>
                <a:gd name="T101" fmla="*/ 2147483647 h 72"/>
                <a:gd name="T102" fmla="*/ 2147483647 w 220"/>
                <a:gd name="T103" fmla="*/ 2147483647 h 72"/>
                <a:gd name="T104" fmla="*/ 0 w 220"/>
                <a:gd name="T105" fmla="*/ 2147483647 h 72"/>
                <a:gd name="T106" fmla="*/ 2147483647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0"/>
                <a:gd name="T172" fmla="*/ 0 h 72"/>
                <a:gd name="T173" fmla="*/ 220 w 220"/>
                <a:gd name="T174" fmla="*/ 72 h 7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5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47483647 w 146"/>
                <a:gd name="T33" fmla="*/ 2147483647 h 30"/>
                <a:gd name="T34" fmla="*/ 2147483647 w 146"/>
                <a:gd name="T35" fmla="*/ 0 h 30"/>
                <a:gd name="T36" fmla="*/ 2147483647 w 146"/>
                <a:gd name="T37" fmla="*/ 2147483647 h 30"/>
                <a:gd name="T38" fmla="*/ 2147483647 w 146"/>
                <a:gd name="T39" fmla="*/ 2147483647 h 30"/>
                <a:gd name="T40" fmla="*/ 2147483647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6"/>
                <a:gd name="T97" fmla="*/ 0 h 30"/>
                <a:gd name="T98" fmla="*/ 146 w 146"/>
                <a:gd name="T99" fmla="*/ 30 h 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6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2147483647 h 9"/>
                <a:gd name="T2" fmla="*/ 2147483647 w 53"/>
                <a:gd name="T3" fmla="*/ 2147483647 h 9"/>
                <a:gd name="T4" fmla="*/ 2147483647 w 53"/>
                <a:gd name="T5" fmla="*/ 2147483647 h 9"/>
                <a:gd name="T6" fmla="*/ 2147483647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2147483647 w 53"/>
                <a:gd name="T13" fmla="*/ 2147483647 h 9"/>
                <a:gd name="T14" fmla="*/ 2147483647 w 53"/>
                <a:gd name="T15" fmla="*/ 2147483647 h 9"/>
                <a:gd name="T16" fmla="*/ 2147483647 w 53"/>
                <a:gd name="T17" fmla="*/ 0 h 9"/>
                <a:gd name="T18" fmla="*/ 2147483647 w 53"/>
                <a:gd name="T19" fmla="*/ 0 h 9"/>
                <a:gd name="T20" fmla="*/ 2147483647 w 53"/>
                <a:gd name="T21" fmla="*/ 0 h 9"/>
                <a:gd name="T22" fmla="*/ 2147483647 w 53"/>
                <a:gd name="T23" fmla="*/ 2147483647 h 9"/>
                <a:gd name="T24" fmla="*/ 2147483647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9"/>
                <a:gd name="T41" fmla="*/ 53 w 53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7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738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5"/>
                <a:gd name="T35" fmla="*/ 26 w 26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9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0 h 25"/>
                <a:gd name="T6" fmla="*/ 0 w 33"/>
                <a:gd name="T7" fmla="*/ 0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2147483647 h 25"/>
                <a:gd name="T14" fmla="*/ 2147483647 w 33"/>
                <a:gd name="T15" fmla="*/ 2147483647 h 25"/>
                <a:gd name="T16" fmla="*/ 2147483647 w 33"/>
                <a:gd name="T17" fmla="*/ 2147483647 h 25"/>
                <a:gd name="T18" fmla="*/ 2147483647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25"/>
                <a:gd name="T32" fmla="*/ 33 w 33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0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2147483647 w 20"/>
                <a:gd name="T3" fmla="*/ 2147483647 h 18"/>
                <a:gd name="T4" fmla="*/ 2147483647 w 20"/>
                <a:gd name="T5" fmla="*/ 2147483647 h 18"/>
                <a:gd name="T6" fmla="*/ 214748364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8"/>
                <a:gd name="T17" fmla="*/ 20 w 20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1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2147483647 w 33"/>
                <a:gd name="T5" fmla="*/ 0 h 31"/>
                <a:gd name="T6" fmla="*/ 2147483647 w 33"/>
                <a:gd name="T7" fmla="*/ 0 h 31"/>
                <a:gd name="T8" fmla="*/ 2147483647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1"/>
                <a:gd name="T47" fmla="*/ 33 w 33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2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9"/>
                <a:gd name="T112" fmla="*/ 0 h 56"/>
                <a:gd name="T113" fmla="*/ 129 w 129"/>
                <a:gd name="T114" fmla="*/ 56 h 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3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47483647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147483647 w 41"/>
                <a:gd name="T7" fmla="*/ 2147483647 h 42"/>
                <a:gd name="T8" fmla="*/ 2147483647 w 41"/>
                <a:gd name="T9" fmla="*/ 2147483647 h 42"/>
                <a:gd name="T10" fmla="*/ 2147483647 w 41"/>
                <a:gd name="T11" fmla="*/ 2147483647 h 42"/>
                <a:gd name="T12" fmla="*/ 2147483647 w 41"/>
                <a:gd name="T13" fmla="*/ 0 h 42"/>
                <a:gd name="T14" fmla="*/ 2147483647 w 41"/>
                <a:gd name="T15" fmla="*/ 2147483647 h 42"/>
                <a:gd name="T16" fmla="*/ 2147483647 w 41"/>
                <a:gd name="T17" fmla="*/ 2147483647 h 42"/>
                <a:gd name="T18" fmla="*/ 2147483647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1"/>
                <a:gd name="T31" fmla="*/ 0 h 42"/>
                <a:gd name="T32" fmla="*/ 41 w 41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4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147483647 w 93"/>
                <a:gd name="T25" fmla="*/ 2147483647 h 39"/>
                <a:gd name="T26" fmla="*/ 2147483647 w 93"/>
                <a:gd name="T27" fmla="*/ 2147483647 h 39"/>
                <a:gd name="T28" fmla="*/ 2147483647 w 93"/>
                <a:gd name="T29" fmla="*/ 2147483647 h 39"/>
                <a:gd name="T30" fmla="*/ 0 w 93"/>
                <a:gd name="T31" fmla="*/ 2147483647 h 39"/>
                <a:gd name="T32" fmla="*/ 2147483647 w 93"/>
                <a:gd name="T33" fmla="*/ 2147483647 h 39"/>
                <a:gd name="T34" fmla="*/ 2147483647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3"/>
                <a:gd name="T67" fmla="*/ 0 h 39"/>
                <a:gd name="T68" fmla="*/ 93 w 93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5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2147483647 w 39"/>
                <a:gd name="T1" fmla="*/ 2147483647 h 19"/>
                <a:gd name="T2" fmla="*/ 2147483647 w 39"/>
                <a:gd name="T3" fmla="*/ 2147483647 h 19"/>
                <a:gd name="T4" fmla="*/ 2147483647 w 39"/>
                <a:gd name="T5" fmla="*/ 2147483647 h 19"/>
                <a:gd name="T6" fmla="*/ 2147483647 w 39"/>
                <a:gd name="T7" fmla="*/ 2147483647 h 19"/>
                <a:gd name="T8" fmla="*/ 2147483647 w 39"/>
                <a:gd name="T9" fmla="*/ 2147483647 h 19"/>
                <a:gd name="T10" fmla="*/ 2147483647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2147483647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19"/>
                <a:gd name="T38" fmla="*/ 39 w 39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6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6"/>
                <a:gd name="T47" fmla="*/ 26 w 26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7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7"/>
                <a:gd name="T17" fmla="*/ 6 w 6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8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43"/>
                <a:gd name="T62" fmla="*/ 20 w 20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9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30"/>
                <a:gd name="T11" fmla="*/ 30 h 30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0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  <a:gd name="T9" fmla="*/ 0 w 20"/>
                <a:gd name="T10" fmla="*/ 0 h 24"/>
                <a:gd name="T11" fmla="*/ 20 w 20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1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2147483647 w 46"/>
                <a:gd name="T3" fmla="*/ 2147483647 h 19"/>
                <a:gd name="T4" fmla="*/ 2147483647 w 46"/>
                <a:gd name="T5" fmla="*/ 2147483647 h 19"/>
                <a:gd name="T6" fmla="*/ 2147483647 w 46"/>
                <a:gd name="T7" fmla="*/ 2147483647 h 19"/>
                <a:gd name="T8" fmla="*/ 2147483647 w 46"/>
                <a:gd name="T9" fmla="*/ 2147483647 h 19"/>
                <a:gd name="T10" fmla="*/ 2147483647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2147483647 w 46"/>
                <a:gd name="T21" fmla="*/ 2147483647 h 19"/>
                <a:gd name="T22" fmla="*/ 2147483647 w 46"/>
                <a:gd name="T23" fmla="*/ 2147483647 h 19"/>
                <a:gd name="T24" fmla="*/ 2147483647 w 46"/>
                <a:gd name="T25" fmla="*/ 2147483647 h 19"/>
                <a:gd name="T26" fmla="*/ 2147483647 w 46"/>
                <a:gd name="T27" fmla="*/ 2147483647 h 19"/>
                <a:gd name="T28" fmla="*/ 2147483647 w 46"/>
                <a:gd name="T29" fmla="*/ 2147483647 h 19"/>
                <a:gd name="T30" fmla="*/ 2147483647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6"/>
                <a:gd name="T52" fmla="*/ 0 h 19"/>
                <a:gd name="T53" fmla="*/ 46 w 46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2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0"/>
                <a:gd name="T34" fmla="*/ 0 h 55"/>
                <a:gd name="T35" fmla="*/ 100 w 100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3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51"/>
                <a:gd name="T119" fmla="*/ 99 w 99"/>
                <a:gd name="T120" fmla="*/ 51 h 5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4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25"/>
                <a:gd name="T169" fmla="*/ 0 h 311"/>
                <a:gd name="T170" fmla="*/ 525 w 525"/>
                <a:gd name="T171" fmla="*/ 311 h 31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5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9"/>
                <a:gd name="T94" fmla="*/ 0 h 38"/>
                <a:gd name="T95" fmla="*/ 79 w 79"/>
                <a:gd name="T96" fmla="*/ 38 h 3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6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59"/>
                <a:gd name="T142" fmla="*/ 0 h 511"/>
                <a:gd name="T143" fmla="*/ 459 w 459"/>
                <a:gd name="T144" fmla="*/ 511 h 51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757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15828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0 h 259"/>
                  <a:gd name="T2" fmla="*/ 0 w 240"/>
                  <a:gd name="T3" fmla="*/ 0 h 259"/>
                  <a:gd name="T4" fmla="*/ 0 w 240"/>
                  <a:gd name="T5" fmla="*/ 0 h 259"/>
                  <a:gd name="T6" fmla="*/ 0 w 240"/>
                  <a:gd name="T7" fmla="*/ 0 h 259"/>
                  <a:gd name="T8" fmla="*/ 0 w 240"/>
                  <a:gd name="T9" fmla="*/ 0 h 259"/>
                  <a:gd name="T10" fmla="*/ 0 w 240"/>
                  <a:gd name="T11" fmla="*/ 0 h 259"/>
                  <a:gd name="T12" fmla="*/ 0 w 240"/>
                  <a:gd name="T13" fmla="*/ 0 h 259"/>
                  <a:gd name="T14" fmla="*/ 0 w 240"/>
                  <a:gd name="T15" fmla="*/ 0 h 259"/>
                  <a:gd name="T16" fmla="*/ 0 w 240"/>
                  <a:gd name="T17" fmla="*/ 0 h 259"/>
                  <a:gd name="T18" fmla="*/ 0 w 240"/>
                  <a:gd name="T19" fmla="*/ 0 h 259"/>
                  <a:gd name="T20" fmla="*/ 0 w 240"/>
                  <a:gd name="T21" fmla="*/ 0 h 259"/>
                  <a:gd name="T22" fmla="*/ 0 w 240"/>
                  <a:gd name="T23" fmla="*/ 0 h 259"/>
                  <a:gd name="T24" fmla="*/ 0 w 240"/>
                  <a:gd name="T25" fmla="*/ 0 h 259"/>
                  <a:gd name="T26" fmla="*/ 0 w 240"/>
                  <a:gd name="T27" fmla="*/ 0 h 259"/>
                  <a:gd name="T28" fmla="*/ 0 w 240"/>
                  <a:gd name="T29" fmla="*/ 0 h 259"/>
                  <a:gd name="T30" fmla="*/ 0 w 240"/>
                  <a:gd name="T31" fmla="*/ 0 h 259"/>
                  <a:gd name="T32" fmla="*/ 0 w 240"/>
                  <a:gd name="T33" fmla="*/ 0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0"/>
                  <a:gd name="T52" fmla="*/ 0 h 259"/>
                  <a:gd name="T53" fmla="*/ 240 w 240"/>
                  <a:gd name="T54" fmla="*/ 259 h 2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9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0 h 104"/>
                  <a:gd name="T2" fmla="*/ 0 w 259"/>
                  <a:gd name="T3" fmla="*/ 0 h 104"/>
                  <a:gd name="T4" fmla="*/ 0 w 259"/>
                  <a:gd name="T5" fmla="*/ 0 h 104"/>
                  <a:gd name="T6" fmla="*/ 0 w 259"/>
                  <a:gd name="T7" fmla="*/ 0 h 104"/>
                  <a:gd name="T8" fmla="*/ 0 w 259"/>
                  <a:gd name="T9" fmla="*/ 0 h 104"/>
                  <a:gd name="T10" fmla="*/ 0 w 259"/>
                  <a:gd name="T11" fmla="*/ 0 h 104"/>
                  <a:gd name="T12" fmla="*/ 0 w 259"/>
                  <a:gd name="T13" fmla="*/ 0 h 104"/>
                  <a:gd name="T14" fmla="*/ 0 w 259"/>
                  <a:gd name="T15" fmla="*/ 0 h 104"/>
                  <a:gd name="T16" fmla="*/ 0 w 259"/>
                  <a:gd name="T17" fmla="*/ 0 h 104"/>
                  <a:gd name="T18" fmla="*/ 0 w 259"/>
                  <a:gd name="T19" fmla="*/ 0 h 104"/>
                  <a:gd name="T20" fmla="*/ 0 w 259"/>
                  <a:gd name="T21" fmla="*/ 0 h 104"/>
                  <a:gd name="T22" fmla="*/ 0 w 259"/>
                  <a:gd name="T23" fmla="*/ 0 h 104"/>
                  <a:gd name="T24" fmla="*/ 0 w 259"/>
                  <a:gd name="T25" fmla="*/ 0 h 104"/>
                  <a:gd name="T26" fmla="*/ 0 w 259"/>
                  <a:gd name="T27" fmla="*/ 0 h 104"/>
                  <a:gd name="T28" fmla="*/ 0 w 259"/>
                  <a:gd name="T29" fmla="*/ 0 h 104"/>
                  <a:gd name="T30" fmla="*/ 0 w 259"/>
                  <a:gd name="T31" fmla="*/ 0 h 104"/>
                  <a:gd name="T32" fmla="*/ 0 w 259"/>
                  <a:gd name="T33" fmla="*/ 0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9"/>
                  <a:gd name="T52" fmla="*/ 0 h 104"/>
                  <a:gd name="T53" fmla="*/ 259 w 259"/>
                  <a:gd name="T54" fmla="*/ 104 h 10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758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27"/>
                <a:gd name="T172" fmla="*/ 0 h 979"/>
                <a:gd name="T173" fmla="*/ 1227 w 1227"/>
                <a:gd name="T174" fmla="*/ 979 h 9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9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147483647 w 146"/>
                <a:gd name="T25" fmla="*/ 2147483647 h 81"/>
                <a:gd name="T26" fmla="*/ 2147483647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2147483647 w 146"/>
                <a:gd name="T39" fmla="*/ 2147483647 h 81"/>
                <a:gd name="T40" fmla="*/ 2147483647 w 146"/>
                <a:gd name="T41" fmla="*/ 2147483647 h 81"/>
                <a:gd name="T42" fmla="*/ 2147483647 w 146"/>
                <a:gd name="T43" fmla="*/ 2147483647 h 81"/>
                <a:gd name="T44" fmla="*/ 2147483647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2147483647 h 81"/>
                <a:gd name="T56" fmla="*/ 2147483647 w 146"/>
                <a:gd name="T57" fmla="*/ 0 h 81"/>
                <a:gd name="T58" fmla="*/ 2147483647 w 146"/>
                <a:gd name="T59" fmla="*/ 2147483647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6"/>
                <a:gd name="T100" fmla="*/ 0 h 81"/>
                <a:gd name="T101" fmla="*/ 146 w 146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0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49"/>
                <a:gd name="T59" fmla="*/ 34 w 34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1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0"/>
                <a:gd name="T76" fmla="*/ 0 h 74"/>
                <a:gd name="T77" fmla="*/ 60 w 60"/>
                <a:gd name="T78" fmla="*/ 74 h 7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2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45"/>
                <a:gd name="T71" fmla="*/ 47 w 47"/>
                <a:gd name="T72" fmla="*/ 45 h 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3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36"/>
                <a:gd name="T41" fmla="*/ 26 w 26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4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2173" y="2479262"/>
              <a:ext cx="174745" cy="158606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5"/>
                <a:gd name="T139" fmla="*/ 0 h 302"/>
                <a:gd name="T140" fmla="*/ 405 w 405"/>
                <a:gd name="T141" fmla="*/ 302 h 3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5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155"/>
                <a:gd name="T131" fmla="*/ 100 w 100"/>
                <a:gd name="T132" fmla="*/ 155 h 1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766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</p:grpSpPr>
          <p:sp>
            <p:nvSpPr>
              <p:cNvPr id="15823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7"/>
                  <a:gd name="T23" fmla="*/ 13 w 13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4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4"/>
                  <a:gd name="T40" fmla="*/ 0 h 8"/>
                  <a:gd name="T41" fmla="*/ 34 w 34"/>
                  <a:gd name="T42" fmla="*/ 8 h 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5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24"/>
                  <a:gd name="T14" fmla="*/ 13 w 13"/>
                  <a:gd name="T15" fmla="*/ 24 h 2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6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0 h 69"/>
                  <a:gd name="T6" fmla="*/ 0 w 107"/>
                  <a:gd name="T7" fmla="*/ 0 h 69"/>
                  <a:gd name="T8" fmla="*/ 0 w 107"/>
                  <a:gd name="T9" fmla="*/ 0 h 69"/>
                  <a:gd name="T10" fmla="*/ 0 w 107"/>
                  <a:gd name="T11" fmla="*/ 0 h 69"/>
                  <a:gd name="T12" fmla="*/ 0 w 107"/>
                  <a:gd name="T13" fmla="*/ 0 h 69"/>
                  <a:gd name="T14" fmla="*/ 0 w 107"/>
                  <a:gd name="T15" fmla="*/ 0 h 69"/>
                  <a:gd name="T16" fmla="*/ 0 w 107"/>
                  <a:gd name="T17" fmla="*/ 0 h 69"/>
                  <a:gd name="T18" fmla="*/ 0 w 107"/>
                  <a:gd name="T19" fmla="*/ 0 h 69"/>
                  <a:gd name="T20" fmla="*/ 0 w 107"/>
                  <a:gd name="T21" fmla="*/ 0 h 69"/>
                  <a:gd name="T22" fmla="*/ 0 w 107"/>
                  <a:gd name="T23" fmla="*/ 0 h 69"/>
                  <a:gd name="T24" fmla="*/ 0 w 107"/>
                  <a:gd name="T25" fmla="*/ 0 h 69"/>
                  <a:gd name="T26" fmla="*/ 0 w 107"/>
                  <a:gd name="T27" fmla="*/ 0 h 69"/>
                  <a:gd name="T28" fmla="*/ 0 w 107"/>
                  <a:gd name="T29" fmla="*/ 0 h 69"/>
                  <a:gd name="T30" fmla="*/ 0 w 107"/>
                  <a:gd name="T31" fmla="*/ 0 h 69"/>
                  <a:gd name="T32" fmla="*/ 0 w 107"/>
                  <a:gd name="T33" fmla="*/ 0 h 69"/>
                  <a:gd name="T34" fmla="*/ 0 w 107"/>
                  <a:gd name="T35" fmla="*/ 0 h 69"/>
                  <a:gd name="T36" fmla="*/ 0 w 107"/>
                  <a:gd name="T37" fmla="*/ 0 h 69"/>
                  <a:gd name="T38" fmla="*/ 0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07"/>
                  <a:gd name="T70" fmla="*/ 0 h 69"/>
                  <a:gd name="T71" fmla="*/ 107 w 107"/>
                  <a:gd name="T72" fmla="*/ 69 h 6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7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0 w 1070"/>
                  <a:gd name="T1" fmla="*/ 0 h 382"/>
                  <a:gd name="T2" fmla="*/ 0 w 1070"/>
                  <a:gd name="T3" fmla="*/ 0 h 382"/>
                  <a:gd name="T4" fmla="*/ 0 w 1070"/>
                  <a:gd name="T5" fmla="*/ 0 h 382"/>
                  <a:gd name="T6" fmla="*/ 0 w 1070"/>
                  <a:gd name="T7" fmla="*/ 0 h 382"/>
                  <a:gd name="T8" fmla="*/ 0 w 1070"/>
                  <a:gd name="T9" fmla="*/ 0 h 382"/>
                  <a:gd name="T10" fmla="*/ 0 w 1070"/>
                  <a:gd name="T11" fmla="*/ 0 h 382"/>
                  <a:gd name="T12" fmla="*/ 0 w 1070"/>
                  <a:gd name="T13" fmla="*/ 0 h 382"/>
                  <a:gd name="T14" fmla="*/ 0 w 1070"/>
                  <a:gd name="T15" fmla="*/ 0 h 382"/>
                  <a:gd name="T16" fmla="*/ 0 w 1070"/>
                  <a:gd name="T17" fmla="*/ 0 h 382"/>
                  <a:gd name="T18" fmla="*/ 0 w 1070"/>
                  <a:gd name="T19" fmla="*/ 0 h 382"/>
                  <a:gd name="T20" fmla="*/ 0 w 1070"/>
                  <a:gd name="T21" fmla="*/ 0 h 382"/>
                  <a:gd name="T22" fmla="*/ 0 w 1070"/>
                  <a:gd name="T23" fmla="*/ 0 h 382"/>
                  <a:gd name="T24" fmla="*/ 0 w 1070"/>
                  <a:gd name="T25" fmla="*/ 0 h 382"/>
                  <a:gd name="T26" fmla="*/ 0 w 1070"/>
                  <a:gd name="T27" fmla="*/ 0 h 382"/>
                  <a:gd name="T28" fmla="*/ 0 w 1070"/>
                  <a:gd name="T29" fmla="*/ 0 h 382"/>
                  <a:gd name="T30" fmla="*/ 0 w 1070"/>
                  <a:gd name="T31" fmla="*/ 0 h 382"/>
                  <a:gd name="T32" fmla="*/ 0 w 1070"/>
                  <a:gd name="T33" fmla="*/ 0 h 382"/>
                  <a:gd name="T34" fmla="*/ 0 w 1070"/>
                  <a:gd name="T35" fmla="*/ 0 h 382"/>
                  <a:gd name="T36" fmla="*/ 0 w 1070"/>
                  <a:gd name="T37" fmla="*/ 0 h 382"/>
                  <a:gd name="T38" fmla="*/ 0 w 1070"/>
                  <a:gd name="T39" fmla="*/ 0 h 382"/>
                  <a:gd name="T40" fmla="*/ 0 w 1070"/>
                  <a:gd name="T41" fmla="*/ 0 h 382"/>
                  <a:gd name="T42" fmla="*/ 0 w 1070"/>
                  <a:gd name="T43" fmla="*/ 0 h 382"/>
                  <a:gd name="T44" fmla="*/ 0 w 1070"/>
                  <a:gd name="T45" fmla="*/ 0 h 382"/>
                  <a:gd name="T46" fmla="*/ 0 w 1070"/>
                  <a:gd name="T47" fmla="*/ 0 h 382"/>
                  <a:gd name="T48" fmla="*/ 0 w 1070"/>
                  <a:gd name="T49" fmla="*/ 0 h 382"/>
                  <a:gd name="T50" fmla="*/ 0 w 1070"/>
                  <a:gd name="T51" fmla="*/ 0 h 382"/>
                  <a:gd name="T52" fmla="*/ 0 w 1070"/>
                  <a:gd name="T53" fmla="*/ 0 h 382"/>
                  <a:gd name="T54" fmla="*/ 0 w 1070"/>
                  <a:gd name="T55" fmla="*/ 0 h 382"/>
                  <a:gd name="T56" fmla="*/ 0 w 1070"/>
                  <a:gd name="T57" fmla="*/ 0 h 382"/>
                  <a:gd name="T58" fmla="*/ 0 w 1070"/>
                  <a:gd name="T59" fmla="*/ 0 h 382"/>
                  <a:gd name="T60" fmla="*/ 0 w 1070"/>
                  <a:gd name="T61" fmla="*/ 0 h 382"/>
                  <a:gd name="T62" fmla="*/ 0 w 1070"/>
                  <a:gd name="T63" fmla="*/ 0 h 382"/>
                  <a:gd name="T64" fmla="*/ 0 w 1070"/>
                  <a:gd name="T65" fmla="*/ 0 h 382"/>
                  <a:gd name="T66" fmla="*/ 0 w 1070"/>
                  <a:gd name="T67" fmla="*/ 0 h 382"/>
                  <a:gd name="T68" fmla="*/ 0 w 1070"/>
                  <a:gd name="T69" fmla="*/ 0 h 382"/>
                  <a:gd name="T70" fmla="*/ 0 w 1070"/>
                  <a:gd name="T71" fmla="*/ 0 h 382"/>
                  <a:gd name="T72" fmla="*/ 0 w 1070"/>
                  <a:gd name="T73" fmla="*/ 0 h 382"/>
                  <a:gd name="T74" fmla="*/ 0 w 1070"/>
                  <a:gd name="T75" fmla="*/ 0 h 382"/>
                  <a:gd name="T76" fmla="*/ 0 w 1070"/>
                  <a:gd name="T77" fmla="*/ 0 h 382"/>
                  <a:gd name="T78" fmla="*/ 0 w 1070"/>
                  <a:gd name="T79" fmla="*/ 0 h 382"/>
                  <a:gd name="T80" fmla="*/ 0 w 1070"/>
                  <a:gd name="T81" fmla="*/ 0 h 382"/>
                  <a:gd name="T82" fmla="*/ 0 w 1070"/>
                  <a:gd name="T83" fmla="*/ 0 h 382"/>
                  <a:gd name="T84" fmla="*/ 0 w 1070"/>
                  <a:gd name="T85" fmla="*/ 0 h 382"/>
                  <a:gd name="T86" fmla="*/ 0 w 1070"/>
                  <a:gd name="T87" fmla="*/ 0 h 382"/>
                  <a:gd name="T88" fmla="*/ 0 w 1070"/>
                  <a:gd name="T89" fmla="*/ 0 h 382"/>
                  <a:gd name="T90" fmla="*/ 0 w 1070"/>
                  <a:gd name="T91" fmla="*/ 0 h 382"/>
                  <a:gd name="T92" fmla="*/ 0 w 1070"/>
                  <a:gd name="T93" fmla="*/ 0 h 382"/>
                  <a:gd name="T94" fmla="*/ 0 w 1070"/>
                  <a:gd name="T95" fmla="*/ 0 h 382"/>
                  <a:gd name="T96" fmla="*/ 0 w 1070"/>
                  <a:gd name="T97" fmla="*/ 0 h 382"/>
                  <a:gd name="T98" fmla="*/ 0 w 1070"/>
                  <a:gd name="T99" fmla="*/ 0 h 382"/>
                  <a:gd name="T100" fmla="*/ 0 w 1070"/>
                  <a:gd name="T101" fmla="*/ 0 h 382"/>
                  <a:gd name="T102" fmla="*/ 0 w 1070"/>
                  <a:gd name="T103" fmla="*/ 0 h 382"/>
                  <a:gd name="T104" fmla="*/ 0 w 1070"/>
                  <a:gd name="T105" fmla="*/ 0 h 382"/>
                  <a:gd name="T106" fmla="*/ 0 w 1070"/>
                  <a:gd name="T107" fmla="*/ 0 h 382"/>
                  <a:gd name="T108" fmla="*/ 0 w 1070"/>
                  <a:gd name="T109" fmla="*/ 0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70"/>
                  <a:gd name="T166" fmla="*/ 0 h 382"/>
                  <a:gd name="T167" fmla="*/ 1070 w 1070"/>
                  <a:gd name="T168" fmla="*/ 382 h 38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767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237"/>
                <a:gd name="T110" fmla="*/ 226 w 226"/>
                <a:gd name="T111" fmla="*/ 237 h 23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8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78"/>
                <a:gd name="T154" fmla="*/ 0 h 875"/>
                <a:gd name="T155" fmla="*/ 478 w 478"/>
                <a:gd name="T156" fmla="*/ 875 h 87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9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0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9"/>
                <a:gd name="T139" fmla="*/ 0 h 518"/>
                <a:gd name="T140" fmla="*/ 399 w 399"/>
                <a:gd name="T141" fmla="*/ 518 h 51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1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66"/>
                <a:gd name="T160" fmla="*/ 0 h 740"/>
                <a:gd name="T161" fmla="*/ 866 w 866"/>
                <a:gd name="T162" fmla="*/ 740 h 7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2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97"/>
                <a:gd name="T157" fmla="*/ 0 h 500"/>
                <a:gd name="T158" fmla="*/ 697 w 697"/>
                <a:gd name="T159" fmla="*/ 500 h 5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3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4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5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6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0" name="Freeform 549"/>
            <p:cNvSpPr/>
            <p:nvPr/>
          </p:nvSpPr>
          <p:spPr>
            <a:xfrm>
              <a:off x="4608284" y="3273636"/>
              <a:ext cx="255397" cy="98120"/>
            </a:xfrm>
            <a:custGeom>
              <a:avLst/>
              <a:gdLst>
                <a:gd name="connsiteX0" fmla="*/ 0 w 254543"/>
                <a:gd name="connsiteY0" fmla="*/ 76753 h 105750"/>
                <a:gd name="connsiteX1" fmla="*/ 45244 w 254543"/>
                <a:gd name="connsiteY1" fmla="*/ 41034 h 105750"/>
                <a:gd name="connsiteX2" fmla="*/ 66675 w 254543"/>
                <a:gd name="connsiteY2" fmla="*/ 60084 h 105750"/>
                <a:gd name="connsiteX3" fmla="*/ 85725 w 254543"/>
                <a:gd name="connsiteY3" fmla="*/ 33891 h 105750"/>
                <a:gd name="connsiteX4" fmla="*/ 104775 w 254543"/>
                <a:gd name="connsiteY4" fmla="*/ 55322 h 105750"/>
                <a:gd name="connsiteX5" fmla="*/ 119063 w 254543"/>
                <a:gd name="connsiteY5" fmla="*/ 31509 h 105750"/>
                <a:gd name="connsiteX6" fmla="*/ 159544 w 254543"/>
                <a:gd name="connsiteY6" fmla="*/ 69609 h 105750"/>
                <a:gd name="connsiteX7" fmla="*/ 164306 w 254543"/>
                <a:gd name="connsiteY7" fmla="*/ 71991 h 105750"/>
                <a:gd name="connsiteX8" fmla="*/ 164306 w 254543"/>
                <a:gd name="connsiteY8" fmla="*/ 55322 h 105750"/>
                <a:gd name="connsiteX9" fmla="*/ 147638 w 254543"/>
                <a:gd name="connsiteY9" fmla="*/ 19603 h 105750"/>
                <a:gd name="connsiteX10" fmla="*/ 178594 w 254543"/>
                <a:gd name="connsiteY10" fmla="*/ 553 h 105750"/>
                <a:gd name="connsiteX11" fmla="*/ 207169 w 254543"/>
                <a:gd name="connsiteY11" fmla="*/ 7697 h 105750"/>
                <a:gd name="connsiteX12" fmla="*/ 207169 w 254543"/>
                <a:gd name="connsiteY12" fmla="*/ 33891 h 105750"/>
                <a:gd name="connsiteX13" fmla="*/ 211931 w 254543"/>
                <a:gd name="connsiteY13" fmla="*/ 91041 h 105750"/>
                <a:gd name="connsiteX14" fmla="*/ 252413 w 254543"/>
                <a:gd name="connsiteY14" fmla="*/ 105328 h 105750"/>
                <a:gd name="connsiteX15" fmla="*/ 245269 w 254543"/>
                <a:gd name="connsiteY15" fmla="*/ 100566 h 105750"/>
                <a:gd name="connsiteX0" fmla="*/ 0 w 256924"/>
                <a:gd name="connsiteY0" fmla="*/ 79135 h 105750"/>
                <a:gd name="connsiteX1" fmla="*/ 47625 w 256924"/>
                <a:gd name="connsiteY1" fmla="*/ 41034 h 105750"/>
                <a:gd name="connsiteX2" fmla="*/ 69056 w 256924"/>
                <a:gd name="connsiteY2" fmla="*/ 60084 h 105750"/>
                <a:gd name="connsiteX3" fmla="*/ 88106 w 256924"/>
                <a:gd name="connsiteY3" fmla="*/ 33891 h 105750"/>
                <a:gd name="connsiteX4" fmla="*/ 107156 w 256924"/>
                <a:gd name="connsiteY4" fmla="*/ 55322 h 105750"/>
                <a:gd name="connsiteX5" fmla="*/ 121444 w 256924"/>
                <a:gd name="connsiteY5" fmla="*/ 31509 h 105750"/>
                <a:gd name="connsiteX6" fmla="*/ 161925 w 256924"/>
                <a:gd name="connsiteY6" fmla="*/ 69609 h 105750"/>
                <a:gd name="connsiteX7" fmla="*/ 166687 w 256924"/>
                <a:gd name="connsiteY7" fmla="*/ 71991 h 105750"/>
                <a:gd name="connsiteX8" fmla="*/ 166687 w 256924"/>
                <a:gd name="connsiteY8" fmla="*/ 55322 h 105750"/>
                <a:gd name="connsiteX9" fmla="*/ 150019 w 256924"/>
                <a:gd name="connsiteY9" fmla="*/ 19603 h 105750"/>
                <a:gd name="connsiteX10" fmla="*/ 180975 w 256924"/>
                <a:gd name="connsiteY10" fmla="*/ 553 h 105750"/>
                <a:gd name="connsiteX11" fmla="*/ 209550 w 256924"/>
                <a:gd name="connsiteY11" fmla="*/ 7697 h 105750"/>
                <a:gd name="connsiteX12" fmla="*/ 209550 w 256924"/>
                <a:gd name="connsiteY12" fmla="*/ 33891 h 105750"/>
                <a:gd name="connsiteX13" fmla="*/ 214312 w 256924"/>
                <a:gd name="connsiteY13" fmla="*/ 91041 h 105750"/>
                <a:gd name="connsiteX14" fmla="*/ 254794 w 256924"/>
                <a:gd name="connsiteY14" fmla="*/ 105328 h 105750"/>
                <a:gd name="connsiteX15" fmla="*/ 247650 w 256924"/>
                <a:gd name="connsiteY15" fmla="*/ 100566 h 105750"/>
                <a:gd name="connsiteX0" fmla="*/ 0 w 256924"/>
                <a:gd name="connsiteY0" fmla="*/ 79135 h 105750"/>
                <a:gd name="connsiteX1" fmla="*/ 47625 w 256924"/>
                <a:gd name="connsiteY1" fmla="*/ 41034 h 105750"/>
                <a:gd name="connsiteX2" fmla="*/ 69056 w 256924"/>
                <a:gd name="connsiteY2" fmla="*/ 60084 h 105750"/>
                <a:gd name="connsiteX3" fmla="*/ 88106 w 256924"/>
                <a:gd name="connsiteY3" fmla="*/ 33891 h 105750"/>
                <a:gd name="connsiteX4" fmla="*/ 107156 w 256924"/>
                <a:gd name="connsiteY4" fmla="*/ 55322 h 105750"/>
                <a:gd name="connsiteX5" fmla="*/ 128588 w 256924"/>
                <a:gd name="connsiteY5" fmla="*/ 41034 h 105750"/>
                <a:gd name="connsiteX6" fmla="*/ 161925 w 256924"/>
                <a:gd name="connsiteY6" fmla="*/ 69609 h 105750"/>
                <a:gd name="connsiteX7" fmla="*/ 166687 w 256924"/>
                <a:gd name="connsiteY7" fmla="*/ 71991 h 105750"/>
                <a:gd name="connsiteX8" fmla="*/ 166687 w 256924"/>
                <a:gd name="connsiteY8" fmla="*/ 55322 h 105750"/>
                <a:gd name="connsiteX9" fmla="*/ 150019 w 256924"/>
                <a:gd name="connsiteY9" fmla="*/ 19603 h 105750"/>
                <a:gd name="connsiteX10" fmla="*/ 180975 w 256924"/>
                <a:gd name="connsiteY10" fmla="*/ 553 h 105750"/>
                <a:gd name="connsiteX11" fmla="*/ 209550 w 256924"/>
                <a:gd name="connsiteY11" fmla="*/ 7697 h 105750"/>
                <a:gd name="connsiteX12" fmla="*/ 209550 w 256924"/>
                <a:gd name="connsiteY12" fmla="*/ 33891 h 105750"/>
                <a:gd name="connsiteX13" fmla="*/ 214312 w 256924"/>
                <a:gd name="connsiteY13" fmla="*/ 91041 h 105750"/>
                <a:gd name="connsiteX14" fmla="*/ 254794 w 256924"/>
                <a:gd name="connsiteY14" fmla="*/ 105328 h 105750"/>
                <a:gd name="connsiteX15" fmla="*/ 247650 w 256924"/>
                <a:gd name="connsiteY15" fmla="*/ 100566 h 105750"/>
                <a:gd name="connsiteX0" fmla="*/ 0 w 256924"/>
                <a:gd name="connsiteY0" fmla="*/ 79135 h 105750"/>
                <a:gd name="connsiteX1" fmla="*/ 47625 w 256924"/>
                <a:gd name="connsiteY1" fmla="*/ 41034 h 105750"/>
                <a:gd name="connsiteX2" fmla="*/ 69056 w 256924"/>
                <a:gd name="connsiteY2" fmla="*/ 60084 h 105750"/>
                <a:gd name="connsiteX3" fmla="*/ 88106 w 256924"/>
                <a:gd name="connsiteY3" fmla="*/ 33891 h 105750"/>
                <a:gd name="connsiteX4" fmla="*/ 107156 w 256924"/>
                <a:gd name="connsiteY4" fmla="*/ 55322 h 105750"/>
                <a:gd name="connsiteX5" fmla="*/ 128588 w 256924"/>
                <a:gd name="connsiteY5" fmla="*/ 41034 h 105750"/>
                <a:gd name="connsiteX6" fmla="*/ 161925 w 256924"/>
                <a:gd name="connsiteY6" fmla="*/ 69609 h 105750"/>
                <a:gd name="connsiteX7" fmla="*/ 166687 w 256924"/>
                <a:gd name="connsiteY7" fmla="*/ 71991 h 105750"/>
                <a:gd name="connsiteX8" fmla="*/ 176212 w 256924"/>
                <a:gd name="connsiteY8" fmla="*/ 55322 h 105750"/>
                <a:gd name="connsiteX9" fmla="*/ 150019 w 256924"/>
                <a:gd name="connsiteY9" fmla="*/ 19603 h 105750"/>
                <a:gd name="connsiteX10" fmla="*/ 180975 w 256924"/>
                <a:gd name="connsiteY10" fmla="*/ 553 h 105750"/>
                <a:gd name="connsiteX11" fmla="*/ 209550 w 256924"/>
                <a:gd name="connsiteY11" fmla="*/ 7697 h 105750"/>
                <a:gd name="connsiteX12" fmla="*/ 209550 w 256924"/>
                <a:gd name="connsiteY12" fmla="*/ 33891 h 105750"/>
                <a:gd name="connsiteX13" fmla="*/ 214312 w 256924"/>
                <a:gd name="connsiteY13" fmla="*/ 91041 h 105750"/>
                <a:gd name="connsiteX14" fmla="*/ 254794 w 256924"/>
                <a:gd name="connsiteY14" fmla="*/ 105328 h 105750"/>
                <a:gd name="connsiteX15" fmla="*/ 247650 w 256924"/>
                <a:gd name="connsiteY15" fmla="*/ 100566 h 105750"/>
                <a:gd name="connsiteX0" fmla="*/ 0 w 256924"/>
                <a:gd name="connsiteY0" fmla="*/ 79135 h 105750"/>
                <a:gd name="connsiteX1" fmla="*/ 47625 w 256924"/>
                <a:gd name="connsiteY1" fmla="*/ 41034 h 105750"/>
                <a:gd name="connsiteX2" fmla="*/ 69056 w 256924"/>
                <a:gd name="connsiteY2" fmla="*/ 60084 h 105750"/>
                <a:gd name="connsiteX3" fmla="*/ 88106 w 256924"/>
                <a:gd name="connsiteY3" fmla="*/ 33891 h 105750"/>
                <a:gd name="connsiteX4" fmla="*/ 107156 w 256924"/>
                <a:gd name="connsiteY4" fmla="*/ 55322 h 105750"/>
                <a:gd name="connsiteX5" fmla="*/ 128588 w 256924"/>
                <a:gd name="connsiteY5" fmla="*/ 41034 h 105750"/>
                <a:gd name="connsiteX6" fmla="*/ 161925 w 256924"/>
                <a:gd name="connsiteY6" fmla="*/ 69609 h 105750"/>
                <a:gd name="connsiteX7" fmla="*/ 166687 w 256924"/>
                <a:gd name="connsiteY7" fmla="*/ 71991 h 105750"/>
                <a:gd name="connsiteX8" fmla="*/ 176212 w 256924"/>
                <a:gd name="connsiteY8" fmla="*/ 55322 h 105750"/>
                <a:gd name="connsiteX9" fmla="*/ 157163 w 256924"/>
                <a:gd name="connsiteY9" fmla="*/ 19603 h 105750"/>
                <a:gd name="connsiteX10" fmla="*/ 180975 w 256924"/>
                <a:gd name="connsiteY10" fmla="*/ 553 h 105750"/>
                <a:gd name="connsiteX11" fmla="*/ 209550 w 256924"/>
                <a:gd name="connsiteY11" fmla="*/ 7697 h 105750"/>
                <a:gd name="connsiteX12" fmla="*/ 209550 w 256924"/>
                <a:gd name="connsiteY12" fmla="*/ 33891 h 105750"/>
                <a:gd name="connsiteX13" fmla="*/ 214312 w 256924"/>
                <a:gd name="connsiteY13" fmla="*/ 91041 h 105750"/>
                <a:gd name="connsiteX14" fmla="*/ 254794 w 256924"/>
                <a:gd name="connsiteY14" fmla="*/ 105328 h 105750"/>
                <a:gd name="connsiteX15" fmla="*/ 247650 w 256924"/>
                <a:gd name="connsiteY15" fmla="*/ 100566 h 105750"/>
                <a:gd name="connsiteX0" fmla="*/ 0 w 256924"/>
                <a:gd name="connsiteY0" fmla="*/ 73898 h 100513"/>
                <a:gd name="connsiteX1" fmla="*/ 47625 w 256924"/>
                <a:gd name="connsiteY1" fmla="*/ 35797 h 100513"/>
                <a:gd name="connsiteX2" fmla="*/ 69056 w 256924"/>
                <a:gd name="connsiteY2" fmla="*/ 54847 h 100513"/>
                <a:gd name="connsiteX3" fmla="*/ 88106 w 256924"/>
                <a:gd name="connsiteY3" fmla="*/ 28654 h 100513"/>
                <a:gd name="connsiteX4" fmla="*/ 107156 w 256924"/>
                <a:gd name="connsiteY4" fmla="*/ 50085 h 100513"/>
                <a:gd name="connsiteX5" fmla="*/ 128588 w 256924"/>
                <a:gd name="connsiteY5" fmla="*/ 35797 h 100513"/>
                <a:gd name="connsiteX6" fmla="*/ 161925 w 256924"/>
                <a:gd name="connsiteY6" fmla="*/ 64372 h 100513"/>
                <a:gd name="connsiteX7" fmla="*/ 166687 w 256924"/>
                <a:gd name="connsiteY7" fmla="*/ 66754 h 100513"/>
                <a:gd name="connsiteX8" fmla="*/ 176212 w 256924"/>
                <a:gd name="connsiteY8" fmla="*/ 50085 h 100513"/>
                <a:gd name="connsiteX9" fmla="*/ 157163 w 256924"/>
                <a:gd name="connsiteY9" fmla="*/ 14366 h 100513"/>
                <a:gd name="connsiteX10" fmla="*/ 180975 w 256924"/>
                <a:gd name="connsiteY10" fmla="*/ 2460 h 100513"/>
                <a:gd name="connsiteX11" fmla="*/ 209550 w 256924"/>
                <a:gd name="connsiteY11" fmla="*/ 2460 h 100513"/>
                <a:gd name="connsiteX12" fmla="*/ 209550 w 256924"/>
                <a:gd name="connsiteY12" fmla="*/ 28654 h 100513"/>
                <a:gd name="connsiteX13" fmla="*/ 214312 w 256924"/>
                <a:gd name="connsiteY13" fmla="*/ 85804 h 100513"/>
                <a:gd name="connsiteX14" fmla="*/ 254794 w 256924"/>
                <a:gd name="connsiteY14" fmla="*/ 100091 h 100513"/>
                <a:gd name="connsiteX15" fmla="*/ 247650 w 256924"/>
                <a:gd name="connsiteY15" fmla="*/ 95329 h 100513"/>
                <a:gd name="connsiteX0" fmla="*/ 0 w 256924"/>
                <a:gd name="connsiteY0" fmla="*/ 72545 h 99160"/>
                <a:gd name="connsiteX1" fmla="*/ 47625 w 256924"/>
                <a:gd name="connsiteY1" fmla="*/ 34444 h 99160"/>
                <a:gd name="connsiteX2" fmla="*/ 69056 w 256924"/>
                <a:gd name="connsiteY2" fmla="*/ 53494 h 99160"/>
                <a:gd name="connsiteX3" fmla="*/ 88106 w 256924"/>
                <a:gd name="connsiteY3" fmla="*/ 27301 h 99160"/>
                <a:gd name="connsiteX4" fmla="*/ 107156 w 256924"/>
                <a:gd name="connsiteY4" fmla="*/ 48732 h 99160"/>
                <a:gd name="connsiteX5" fmla="*/ 128588 w 256924"/>
                <a:gd name="connsiteY5" fmla="*/ 34444 h 99160"/>
                <a:gd name="connsiteX6" fmla="*/ 161925 w 256924"/>
                <a:gd name="connsiteY6" fmla="*/ 63019 h 99160"/>
                <a:gd name="connsiteX7" fmla="*/ 166687 w 256924"/>
                <a:gd name="connsiteY7" fmla="*/ 65401 h 99160"/>
                <a:gd name="connsiteX8" fmla="*/ 176212 w 256924"/>
                <a:gd name="connsiteY8" fmla="*/ 48732 h 99160"/>
                <a:gd name="connsiteX9" fmla="*/ 157163 w 256924"/>
                <a:gd name="connsiteY9" fmla="*/ 13013 h 99160"/>
                <a:gd name="connsiteX10" fmla="*/ 180975 w 256924"/>
                <a:gd name="connsiteY10" fmla="*/ 1107 h 99160"/>
                <a:gd name="connsiteX11" fmla="*/ 200025 w 256924"/>
                <a:gd name="connsiteY11" fmla="*/ 3488 h 99160"/>
                <a:gd name="connsiteX12" fmla="*/ 209550 w 256924"/>
                <a:gd name="connsiteY12" fmla="*/ 27301 h 99160"/>
                <a:gd name="connsiteX13" fmla="*/ 214312 w 256924"/>
                <a:gd name="connsiteY13" fmla="*/ 84451 h 99160"/>
                <a:gd name="connsiteX14" fmla="*/ 254794 w 256924"/>
                <a:gd name="connsiteY14" fmla="*/ 98738 h 99160"/>
                <a:gd name="connsiteX15" fmla="*/ 247650 w 256924"/>
                <a:gd name="connsiteY15" fmla="*/ 93976 h 99160"/>
                <a:gd name="connsiteX0" fmla="*/ 0 w 256924"/>
                <a:gd name="connsiteY0" fmla="*/ 72544 h 99159"/>
                <a:gd name="connsiteX1" fmla="*/ 47625 w 256924"/>
                <a:gd name="connsiteY1" fmla="*/ 34443 h 99159"/>
                <a:gd name="connsiteX2" fmla="*/ 69056 w 256924"/>
                <a:gd name="connsiteY2" fmla="*/ 53493 h 99159"/>
                <a:gd name="connsiteX3" fmla="*/ 88106 w 256924"/>
                <a:gd name="connsiteY3" fmla="*/ 27300 h 99159"/>
                <a:gd name="connsiteX4" fmla="*/ 107156 w 256924"/>
                <a:gd name="connsiteY4" fmla="*/ 48731 h 99159"/>
                <a:gd name="connsiteX5" fmla="*/ 128588 w 256924"/>
                <a:gd name="connsiteY5" fmla="*/ 34443 h 99159"/>
                <a:gd name="connsiteX6" fmla="*/ 161925 w 256924"/>
                <a:gd name="connsiteY6" fmla="*/ 63018 h 99159"/>
                <a:gd name="connsiteX7" fmla="*/ 166687 w 256924"/>
                <a:gd name="connsiteY7" fmla="*/ 65400 h 99159"/>
                <a:gd name="connsiteX8" fmla="*/ 176212 w 256924"/>
                <a:gd name="connsiteY8" fmla="*/ 48731 h 99159"/>
                <a:gd name="connsiteX9" fmla="*/ 157163 w 256924"/>
                <a:gd name="connsiteY9" fmla="*/ 13012 h 99159"/>
                <a:gd name="connsiteX10" fmla="*/ 180975 w 256924"/>
                <a:gd name="connsiteY10" fmla="*/ 1106 h 99159"/>
                <a:gd name="connsiteX11" fmla="*/ 200025 w 256924"/>
                <a:gd name="connsiteY11" fmla="*/ 3487 h 99159"/>
                <a:gd name="connsiteX12" fmla="*/ 202406 w 256924"/>
                <a:gd name="connsiteY12" fmla="*/ 27300 h 99159"/>
                <a:gd name="connsiteX13" fmla="*/ 214312 w 256924"/>
                <a:gd name="connsiteY13" fmla="*/ 84450 h 99159"/>
                <a:gd name="connsiteX14" fmla="*/ 254794 w 256924"/>
                <a:gd name="connsiteY14" fmla="*/ 98737 h 99159"/>
                <a:gd name="connsiteX15" fmla="*/ 247650 w 256924"/>
                <a:gd name="connsiteY15" fmla="*/ 93975 h 99159"/>
                <a:gd name="connsiteX0" fmla="*/ 0 w 256924"/>
                <a:gd name="connsiteY0" fmla="*/ 72544 h 99159"/>
                <a:gd name="connsiteX1" fmla="*/ 47625 w 256924"/>
                <a:gd name="connsiteY1" fmla="*/ 34443 h 99159"/>
                <a:gd name="connsiteX2" fmla="*/ 69056 w 256924"/>
                <a:gd name="connsiteY2" fmla="*/ 53493 h 99159"/>
                <a:gd name="connsiteX3" fmla="*/ 88106 w 256924"/>
                <a:gd name="connsiteY3" fmla="*/ 27300 h 99159"/>
                <a:gd name="connsiteX4" fmla="*/ 107156 w 256924"/>
                <a:gd name="connsiteY4" fmla="*/ 48731 h 99159"/>
                <a:gd name="connsiteX5" fmla="*/ 128588 w 256924"/>
                <a:gd name="connsiteY5" fmla="*/ 34443 h 99159"/>
                <a:gd name="connsiteX6" fmla="*/ 161925 w 256924"/>
                <a:gd name="connsiteY6" fmla="*/ 63018 h 99159"/>
                <a:gd name="connsiteX7" fmla="*/ 166687 w 256924"/>
                <a:gd name="connsiteY7" fmla="*/ 65400 h 99159"/>
                <a:gd name="connsiteX8" fmla="*/ 176212 w 256924"/>
                <a:gd name="connsiteY8" fmla="*/ 48731 h 99159"/>
                <a:gd name="connsiteX9" fmla="*/ 157163 w 256924"/>
                <a:gd name="connsiteY9" fmla="*/ 13012 h 99159"/>
                <a:gd name="connsiteX10" fmla="*/ 180975 w 256924"/>
                <a:gd name="connsiteY10" fmla="*/ 1106 h 99159"/>
                <a:gd name="connsiteX11" fmla="*/ 200025 w 256924"/>
                <a:gd name="connsiteY11" fmla="*/ 3487 h 99159"/>
                <a:gd name="connsiteX12" fmla="*/ 209550 w 256924"/>
                <a:gd name="connsiteY12" fmla="*/ 27300 h 99159"/>
                <a:gd name="connsiteX13" fmla="*/ 214312 w 256924"/>
                <a:gd name="connsiteY13" fmla="*/ 84450 h 99159"/>
                <a:gd name="connsiteX14" fmla="*/ 254794 w 256924"/>
                <a:gd name="connsiteY14" fmla="*/ 98737 h 99159"/>
                <a:gd name="connsiteX15" fmla="*/ 247650 w 256924"/>
                <a:gd name="connsiteY15" fmla="*/ 93975 h 99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6924" h="99159">
                  <a:moveTo>
                    <a:pt x="0" y="72544"/>
                  </a:moveTo>
                  <a:cubicBezTo>
                    <a:pt x="17066" y="56073"/>
                    <a:pt x="36116" y="37618"/>
                    <a:pt x="47625" y="34443"/>
                  </a:cubicBezTo>
                  <a:cubicBezTo>
                    <a:pt x="59134" y="31268"/>
                    <a:pt x="62309" y="54683"/>
                    <a:pt x="69056" y="53493"/>
                  </a:cubicBezTo>
                  <a:cubicBezTo>
                    <a:pt x="75803" y="52302"/>
                    <a:pt x="81756" y="28094"/>
                    <a:pt x="88106" y="27300"/>
                  </a:cubicBezTo>
                  <a:cubicBezTo>
                    <a:pt x="94456" y="26506"/>
                    <a:pt x="100409" y="47541"/>
                    <a:pt x="107156" y="48731"/>
                  </a:cubicBezTo>
                  <a:cubicBezTo>
                    <a:pt x="113903" y="49922"/>
                    <a:pt x="119460" y="32062"/>
                    <a:pt x="128588" y="34443"/>
                  </a:cubicBezTo>
                  <a:cubicBezTo>
                    <a:pt x="137716" y="36824"/>
                    <a:pt x="155575" y="57859"/>
                    <a:pt x="161925" y="63018"/>
                  </a:cubicBezTo>
                  <a:cubicBezTo>
                    <a:pt x="168275" y="68177"/>
                    <a:pt x="164306" y="67781"/>
                    <a:pt x="166687" y="65400"/>
                  </a:cubicBezTo>
                  <a:cubicBezTo>
                    <a:pt x="169068" y="63019"/>
                    <a:pt x="177799" y="57462"/>
                    <a:pt x="176212" y="48731"/>
                  </a:cubicBezTo>
                  <a:cubicBezTo>
                    <a:pt x="174625" y="40000"/>
                    <a:pt x="156369" y="20949"/>
                    <a:pt x="157163" y="13012"/>
                  </a:cubicBezTo>
                  <a:cubicBezTo>
                    <a:pt x="157957" y="5075"/>
                    <a:pt x="173831" y="2694"/>
                    <a:pt x="180975" y="1106"/>
                  </a:cubicBezTo>
                  <a:cubicBezTo>
                    <a:pt x="188119" y="-481"/>
                    <a:pt x="195263" y="-879"/>
                    <a:pt x="200025" y="3487"/>
                  </a:cubicBezTo>
                  <a:cubicBezTo>
                    <a:pt x="204787" y="7853"/>
                    <a:pt x="207169" y="13806"/>
                    <a:pt x="209550" y="27300"/>
                  </a:cubicBezTo>
                  <a:cubicBezTo>
                    <a:pt x="211931" y="40794"/>
                    <a:pt x="206771" y="72544"/>
                    <a:pt x="214312" y="84450"/>
                  </a:cubicBezTo>
                  <a:cubicBezTo>
                    <a:pt x="221853" y="96356"/>
                    <a:pt x="249238" y="97150"/>
                    <a:pt x="254794" y="98737"/>
                  </a:cubicBezTo>
                  <a:cubicBezTo>
                    <a:pt x="260350" y="100324"/>
                    <a:pt x="254000" y="97149"/>
                    <a:pt x="247650" y="93975"/>
                  </a:cubicBezTo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endParaRPr lang="en-US" altLang="en-US" sz="1800" baseline="-25000" smtClean="0">
                <a:solidFill>
                  <a:srgbClr val="FFFFFF"/>
                </a:solidFill>
              </a:endParaRPr>
            </a:p>
          </p:txBody>
        </p:sp>
        <p:sp>
          <p:nvSpPr>
            <p:cNvPr id="582" name="Freeform 337"/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 rot="9659074">
              <a:off x="8247015" y="4246776"/>
              <a:ext cx="47046" cy="45700"/>
            </a:xfrm>
            <a:custGeom>
              <a:avLst/>
              <a:gdLst>
                <a:gd name="T0" fmla="*/ 6510658 w 193"/>
                <a:gd name="T1" fmla="*/ 9639407 h 121"/>
                <a:gd name="T2" fmla="*/ 9469726 w 193"/>
                <a:gd name="T3" fmla="*/ 6885290 h 121"/>
                <a:gd name="T4" fmla="*/ 13415740 w 193"/>
                <a:gd name="T5" fmla="*/ 3305149 h 121"/>
                <a:gd name="T6" fmla="*/ 16572021 w 193"/>
                <a:gd name="T7" fmla="*/ 1101542 h 121"/>
                <a:gd name="T8" fmla="*/ 18545028 w 193"/>
                <a:gd name="T9" fmla="*/ 275517 h 121"/>
                <a:gd name="T10" fmla="*/ 20715247 w 193"/>
                <a:gd name="T11" fmla="*/ 275517 h 121"/>
                <a:gd name="T12" fmla="*/ 22885466 w 193"/>
                <a:gd name="T13" fmla="*/ 826025 h 121"/>
                <a:gd name="T14" fmla="*/ 25844532 w 193"/>
                <a:gd name="T15" fmla="*/ 2754116 h 121"/>
                <a:gd name="T16" fmla="*/ 29198473 w 193"/>
                <a:gd name="T17" fmla="*/ 5783749 h 121"/>
                <a:gd name="T18" fmla="*/ 31960771 w 193"/>
                <a:gd name="T19" fmla="*/ 7711314 h 121"/>
                <a:gd name="T20" fmla="*/ 34130990 w 193"/>
                <a:gd name="T21" fmla="*/ 8262347 h 121"/>
                <a:gd name="T22" fmla="*/ 35314705 w 193"/>
                <a:gd name="T23" fmla="*/ 13219546 h 121"/>
                <a:gd name="T24" fmla="*/ 35117049 w 193"/>
                <a:gd name="T25" fmla="*/ 18176747 h 121"/>
                <a:gd name="T26" fmla="*/ 35906341 w 193"/>
                <a:gd name="T27" fmla="*/ 20655871 h 121"/>
                <a:gd name="T28" fmla="*/ 36892844 w 193"/>
                <a:gd name="T29" fmla="*/ 24511527 h 121"/>
                <a:gd name="T30" fmla="*/ 37090056 w 193"/>
                <a:gd name="T31" fmla="*/ 28091666 h 121"/>
                <a:gd name="T32" fmla="*/ 37682136 w 193"/>
                <a:gd name="T33" fmla="*/ 30019232 h 121"/>
                <a:gd name="T34" fmla="*/ 37090056 w 193"/>
                <a:gd name="T35" fmla="*/ 31396290 h 121"/>
                <a:gd name="T36" fmla="*/ 34919837 w 193"/>
                <a:gd name="T37" fmla="*/ 32498355 h 121"/>
                <a:gd name="T38" fmla="*/ 31368691 w 193"/>
                <a:gd name="T39" fmla="*/ 33324380 h 121"/>
                <a:gd name="T40" fmla="*/ 22885466 w 193"/>
                <a:gd name="T41" fmla="*/ 32773347 h 121"/>
                <a:gd name="T42" fmla="*/ 14204587 w 193"/>
                <a:gd name="T43" fmla="*/ 31947322 h 121"/>
                <a:gd name="T44" fmla="*/ 12429236 w 193"/>
                <a:gd name="T45" fmla="*/ 30294748 h 121"/>
                <a:gd name="T46" fmla="*/ 11048309 w 193"/>
                <a:gd name="T47" fmla="*/ 27540633 h 121"/>
                <a:gd name="T48" fmla="*/ 10653441 w 193"/>
                <a:gd name="T49" fmla="*/ 23960494 h 121"/>
                <a:gd name="T50" fmla="*/ 9272514 w 193"/>
                <a:gd name="T51" fmla="*/ 21757412 h 121"/>
                <a:gd name="T52" fmla="*/ 6115790 w 193"/>
                <a:gd name="T53" fmla="*/ 20655871 h 121"/>
                <a:gd name="T54" fmla="*/ 2564643 w 193"/>
                <a:gd name="T55" fmla="*/ 19003297 h 121"/>
                <a:gd name="T56" fmla="*/ 592080 w 193"/>
                <a:gd name="T57" fmla="*/ 17075202 h 121"/>
                <a:gd name="T58" fmla="*/ 0 w 193"/>
                <a:gd name="T59" fmla="*/ 15973661 h 121"/>
                <a:gd name="T60" fmla="*/ 197212 w 193"/>
                <a:gd name="T61" fmla="*/ 14045571 h 121"/>
                <a:gd name="T62" fmla="*/ 1380928 w 193"/>
                <a:gd name="T63" fmla="*/ 12393522 h 121"/>
                <a:gd name="T64" fmla="*/ 3945571 w 193"/>
                <a:gd name="T65" fmla="*/ 10465431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585" name="Freeform 450"/>
            <p:cNvSpPr>
              <a:spLocks/>
            </p:cNvSpPr>
            <p:nvPr>
              <p:custDataLst>
                <p:tags r:id="rId383"/>
              </p:custDataLst>
            </p:nvPr>
          </p:nvSpPr>
          <p:spPr bwMode="auto">
            <a:xfrm>
              <a:off x="2038186" y="3285732"/>
              <a:ext cx="298411" cy="524206"/>
            </a:xfrm>
            <a:custGeom>
              <a:avLst/>
              <a:gdLst>
                <a:gd name="T0" fmla="*/ 127747954 w 684"/>
                <a:gd name="T1" fmla="*/ 157887973 h 998"/>
                <a:gd name="T2" fmla="*/ 129461422 w 684"/>
                <a:gd name="T3" fmla="*/ 151550557 h 998"/>
                <a:gd name="T4" fmla="*/ 127747954 w 684"/>
                <a:gd name="T5" fmla="*/ 135293081 h 998"/>
                <a:gd name="T6" fmla="*/ 125463328 w 684"/>
                <a:gd name="T7" fmla="*/ 116555893 h 998"/>
                <a:gd name="T8" fmla="*/ 129080506 w 684"/>
                <a:gd name="T9" fmla="*/ 107187561 h 998"/>
                <a:gd name="T10" fmla="*/ 106043987 w 684"/>
                <a:gd name="T11" fmla="*/ 99472218 h 998"/>
                <a:gd name="T12" fmla="*/ 101474736 w 684"/>
                <a:gd name="T13" fmla="*/ 89828301 h 998"/>
                <a:gd name="T14" fmla="*/ 87957661 w 684"/>
                <a:gd name="T15" fmla="*/ 85419458 h 998"/>
                <a:gd name="T16" fmla="*/ 76534535 w 684"/>
                <a:gd name="T17" fmla="*/ 74397614 h 998"/>
                <a:gd name="T18" fmla="*/ 71394129 w 684"/>
                <a:gd name="T19" fmla="*/ 55384824 h 998"/>
                <a:gd name="T20" fmla="*/ 71394129 w 684"/>
                <a:gd name="T21" fmla="*/ 36647636 h 998"/>
                <a:gd name="T22" fmla="*/ 75201983 w 684"/>
                <a:gd name="T23" fmla="*/ 23146039 h 998"/>
                <a:gd name="T24" fmla="*/ 82817255 w 684"/>
                <a:gd name="T25" fmla="*/ 13226007 h 998"/>
                <a:gd name="T26" fmla="*/ 88147901 w 684"/>
                <a:gd name="T27" fmla="*/ 3030916 h 998"/>
                <a:gd name="T28" fmla="*/ 74059670 w 684"/>
                <a:gd name="T29" fmla="*/ 10746263 h 998"/>
                <a:gd name="T30" fmla="*/ 63778857 w 684"/>
                <a:gd name="T31" fmla="*/ 18737196 h 998"/>
                <a:gd name="T32" fmla="*/ 57876617 w 684"/>
                <a:gd name="T33" fmla="*/ 21492526 h 998"/>
                <a:gd name="T34" fmla="*/ 52926873 w 684"/>
                <a:gd name="T35" fmla="*/ 23146039 h 998"/>
                <a:gd name="T36" fmla="*/ 45882758 w 684"/>
                <a:gd name="T37" fmla="*/ 22319282 h 998"/>
                <a:gd name="T38" fmla="*/ 41313507 w 684"/>
                <a:gd name="T39" fmla="*/ 29759041 h 998"/>
                <a:gd name="T40" fmla="*/ 37315413 w 684"/>
                <a:gd name="T41" fmla="*/ 48220651 h 998"/>
                <a:gd name="T42" fmla="*/ 29890381 w 684"/>
                <a:gd name="T43" fmla="*/ 62548996 h 998"/>
                <a:gd name="T44" fmla="*/ 20370957 w 684"/>
                <a:gd name="T45" fmla="*/ 78255285 h 998"/>
                <a:gd name="T46" fmla="*/ 17134696 w 684"/>
                <a:gd name="T47" fmla="*/ 87348031 h 998"/>
                <a:gd name="T48" fmla="*/ 16372863 w 684"/>
                <a:gd name="T49" fmla="*/ 98094290 h 998"/>
                <a:gd name="T50" fmla="*/ 18467248 w 684"/>
                <a:gd name="T51" fmla="*/ 105258463 h 998"/>
                <a:gd name="T52" fmla="*/ 18467248 w 684"/>
                <a:gd name="T53" fmla="*/ 124271236 h 998"/>
                <a:gd name="T54" fmla="*/ 18086332 w 684"/>
                <a:gd name="T55" fmla="*/ 144661970 h 998"/>
                <a:gd name="T56" fmla="*/ 13707755 w 684"/>
                <a:gd name="T57" fmla="*/ 155132643 h 998"/>
                <a:gd name="T58" fmla="*/ 7044117 w 684"/>
                <a:gd name="T59" fmla="*/ 163123572 h 998"/>
                <a:gd name="T60" fmla="*/ 2094386 w 684"/>
                <a:gd name="T61" fmla="*/ 168634232 h 998"/>
                <a:gd name="T62" fmla="*/ 5711565 w 684"/>
                <a:gd name="T63" fmla="*/ 184064919 h 998"/>
                <a:gd name="T64" fmla="*/ 23417415 w 684"/>
                <a:gd name="T65" fmla="*/ 199771192 h 998"/>
                <a:gd name="T66" fmla="*/ 33317319 w 684"/>
                <a:gd name="T67" fmla="*/ 200597423 h 998"/>
                <a:gd name="T68" fmla="*/ 44549769 w 684"/>
                <a:gd name="T69" fmla="*/ 205557437 h 998"/>
                <a:gd name="T70" fmla="*/ 56924968 w 684"/>
                <a:gd name="T71" fmla="*/ 219059026 h 998"/>
                <a:gd name="T72" fmla="*/ 64159337 w 684"/>
                <a:gd name="T73" fmla="*/ 234214127 h 998"/>
                <a:gd name="T74" fmla="*/ 69870900 w 684"/>
                <a:gd name="T75" fmla="*/ 242756227 h 998"/>
                <a:gd name="T76" fmla="*/ 78438244 w 684"/>
                <a:gd name="T77" fmla="*/ 244133630 h 998"/>
                <a:gd name="T78" fmla="*/ 87957661 w 684"/>
                <a:gd name="T79" fmla="*/ 241378300 h 998"/>
                <a:gd name="T80" fmla="*/ 93669224 w 684"/>
                <a:gd name="T81" fmla="*/ 241929471 h 998"/>
                <a:gd name="T82" fmla="*/ 98047799 w 684"/>
                <a:gd name="T83" fmla="*/ 249093643 h 998"/>
                <a:gd name="T84" fmla="*/ 97667319 w 684"/>
                <a:gd name="T85" fmla="*/ 254053657 h 998"/>
                <a:gd name="T86" fmla="*/ 92907392 w 684"/>
                <a:gd name="T87" fmla="*/ 258186914 h 998"/>
                <a:gd name="T88" fmla="*/ 92907392 w 684"/>
                <a:gd name="T89" fmla="*/ 265351087 h 998"/>
                <a:gd name="T90" fmla="*/ 97286402 w 684"/>
                <a:gd name="T91" fmla="*/ 273892662 h 998"/>
                <a:gd name="T92" fmla="*/ 103188205 w 684"/>
                <a:gd name="T93" fmla="*/ 265075502 h 998"/>
                <a:gd name="T94" fmla="*/ 107757456 w 684"/>
                <a:gd name="T95" fmla="*/ 237245043 h 998"/>
                <a:gd name="T96" fmla="*/ 108709528 w 684"/>
                <a:gd name="T97" fmla="*/ 221263710 h 998"/>
                <a:gd name="T98" fmla="*/ 105663070 w 684"/>
                <a:gd name="T99" fmla="*/ 212446024 h 998"/>
                <a:gd name="T100" fmla="*/ 99571027 w 684"/>
                <a:gd name="T101" fmla="*/ 206384193 h 998"/>
                <a:gd name="T102" fmla="*/ 99190111 w 684"/>
                <a:gd name="T103" fmla="*/ 199220021 h 998"/>
                <a:gd name="T104" fmla="*/ 107757456 w 684"/>
                <a:gd name="T105" fmla="*/ 192882080 h 998"/>
                <a:gd name="T106" fmla="*/ 105853747 w 684"/>
                <a:gd name="T107" fmla="*/ 183238163 h 998"/>
                <a:gd name="T108" fmla="*/ 105853747 w 684"/>
                <a:gd name="T109" fmla="*/ 178829320 h 998"/>
                <a:gd name="T110" fmla="*/ 124701496 w 684"/>
                <a:gd name="T111" fmla="*/ 173043075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555" name="Freeform 275"/>
            <p:cNvSpPr>
              <a:spLocks/>
            </p:cNvSpPr>
            <p:nvPr>
              <p:custDataLst>
                <p:tags r:id="rId384"/>
              </p:custDataLst>
            </p:nvPr>
          </p:nvSpPr>
          <p:spPr bwMode="auto">
            <a:xfrm>
              <a:off x="6164859" y="2843518"/>
              <a:ext cx="133076" cy="166670"/>
            </a:xfrm>
            <a:custGeom>
              <a:avLst/>
              <a:gdLst>
                <a:gd name="T0" fmla="*/ 49186098 w 306"/>
                <a:gd name="T1" fmla="*/ 43143632 h 321"/>
                <a:gd name="T2" fmla="*/ 47856956 w 306"/>
                <a:gd name="T3" fmla="*/ 46649271 h 321"/>
                <a:gd name="T4" fmla="*/ 46147811 w 306"/>
                <a:gd name="T5" fmla="*/ 49075853 h 321"/>
                <a:gd name="T6" fmla="*/ 44248664 w 306"/>
                <a:gd name="T7" fmla="*/ 50154910 h 321"/>
                <a:gd name="T8" fmla="*/ 42349516 w 306"/>
                <a:gd name="T9" fmla="*/ 49615382 h 321"/>
                <a:gd name="T10" fmla="*/ 40640371 w 306"/>
                <a:gd name="T11" fmla="*/ 47997314 h 321"/>
                <a:gd name="T12" fmla="*/ 39690797 w 306"/>
                <a:gd name="T13" fmla="*/ 45570733 h 321"/>
                <a:gd name="T14" fmla="*/ 39121227 w 306"/>
                <a:gd name="T15" fmla="*/ 43143632 h 321"/>
                <a:gd name="T16" fmla="*/ 39690797 w 306"/>
                <a:gd name="T17" fmla="*/ 39908016 h 321"/>
                <a:gd name="T18" fmla="*/ 40450369 w 306"/>
                <a:gd name="T19" fmla="*/ 36672401 h 321"/>
                <a:gd name="T20" fmla="*/ 43678658 w 306"/>
                <a:gd name="T21" fmla="*/ 30740172 h 321"/>
                <a:gd name="T22" fmla="*/ 46717381 w 306"/>
                <a:gd name="T23" fmla="*/ 25077455 h 321"/>
                <a:gd name="T24" fmla="*/ 47476953 w 306"/>
                <a:gd name="T25" fmla="*/ 22111345 h 321"/>
                <a:gd name="T26" fmla="*/ 48046522 w 306"/>
                <a:gd name="T27" fmla="*/ 18605705 h 321"/>
                <a:gd name="T28" fmla="*/ 24498048 w 306"/>
                <a:gd name="T29" fmla="*/ 18336200 h 321"/>
                <a:gd name="T30" fmla="*/ 22598901 w 306"/>
                <a:gd name="T31" fmla="*/ 15909095 h 321"/>
                <a:gd name="T32" fmla="*/ 21269759 w 306"/>
                <a:gd name="T33" fmla="*/ 12133951 h 321"/>
                <a:gd name="T34" fmla="*/ 20510187 w 306"/>
                <a:gd name="T35" fmla="*/ 7550290 h 321"/>
                <a:gd name="T36" fmla="*/ 19180610 w 306"/>
                <a:gd name="T37" fmla="*/ 5123190 h 321"/>
                <a:gd name="T38" fmla="*/ 17091897 w 306"/>
                <a:gd name="T39" fmla="*/ 4584180 h 321"/>
                <a:gd name="T40" fmla="*/ 15192749 w 306"/>
                <a:gd name="T41" fmla="*/ 3235616 h 321"/>
                <a:gd name="T42" fmla="*/ 14243172 w 306"/>
                <a:gd name="T43" fmla="*/ 1078539 h 321"/>
                <a:gd name="T44" fmla="*/ 12344025 w 306"/>
                <a:gd name="T45" fmla="*/ 0 h 321"/>
                <a:gd name="T46" fmla="*/ 9305302 w 306"/>
                <a:gd name="T47" fmla="*/ 0 h 321"/>
                <a:gd name="T48" fmla="*/ 6457015 w 306"/>
                <a:gd name="T49" fmla="*/ 269505 h 321"/>
                <a:gd name="T50" fmla="*/ 4177864 w 306"/>
                <a:gd name="T51" fmla="*/ 1348044 h 321"/>
                <a:gd name="T52" fmla="*/ 1899148 w 306"/>
                <a:gd name="T53" fmla="*/ 3775145 h 321"/>
                <a:gd name="T54" fmla="*/ 190002 w 306"/>
                <a:gd name="T55" fmla="*/ 6741257 h 321"/>
                <a:gd name="T56" fmla="*/ 380004 w 306"/>
                <a:gd name="T57" fmla="*/ 9437865 h 321"/>
                <a:gd name="T58" fmla="*/ 2848722 w 306"/>
                <a:gd name="T59" fmla="*/ 12403975 h 321"/>
                <a:gd name="T60" fmla="*/ 6646581 w 306"/>
                <a:gd name="T61" fmla="*/ 15639591 h 321"/>
                <a:gd name="T62" fmla="*/ 10254876 w 306"/>
                <a:gd name="T63" fmla="*/ 18066696 h 321"/>
                <a:gd name="T64" fmla="*/ 8925734 w 306"/>
                <a:gd name="T65" fmla="*/ 21302311 h 321"/>
                <a:gd name="T66" fmla="*/ 4747870 w 306"/>
                <a:gd name="T67" fmla="*/ 26155994 h 321"/>
                <a:gd name="T68" fmla="*/ 3228290 w 306"/>
                <a:gd name="T69" fmla="*/ 28852599 h 321"/>
                <a:gd name="T70" fmla="*/ 2658720 w 306"/>
                <a:gd name="T71" fmla="*/ 30740172 h 321"/>
                <a:gd name="T72" fmla="*/ 2658720 w 306"/>
                <a:gd name="T73" fmla="*/ 32897248 h 321"/>
                <a:gd name="T74" fmla="*/ 3418292 w 306"/>
                <a:gd name="T75" fmla="*/ 34784829 h 321"/>
                <a:gd name="T76" fmla="*/ 5317440 w 306"/>
                <a:gd name="T77" fmla="*/ 38020444 h 321"/>
                <a:gd name="T78" fmla="*/ 8925734 w 306"/>
                <a:gd name="T79" fmla="*/ 42065093 h 321"/>
                <a:gd name="T80" fmla="*/ 12154023 w 306"/>
                <a:gd name="T81" fmla="*/ 44222170 h 321"/>
                <a:gd name="T82" fmla="*/ 14243172 w 306"/>
                <a:gd name="T83" fmla="*/ 44761699 h 321"/>
                <a:gd name="T84" fmla="*/ 20320185 w 306"/>
                <a:gd name="T85" fmla="*/ 73074778 h 321"/>
                <a:gd name="T86" fmla="*/ 20510187 w 306"/>
                <a:gd name="T87" fmla="*/ 70917701 h 321"/>
                <a:gd name="T88" fmla="*/ 21269759 w 306"/>
                <a:gd name="T89" fmla="*/ 69030129 h 321"/>
                <a:gd name="T90" fmla="*/ 24118480 w 306"/>
                <a:gd name="T91" fmla="*/ 66333507 h 321"/>
                <a:gd name="T92" fmla="*/ 28106341 w 306"/>
                <a:gd name="T93" fmla="*/ 64715959 h 321"/>
                <a:gd name="T94" fmla="*/ 33043782 w 306"/>
                <a:gd name="T95" fmla="*/ 63367396 h 321"/>
                <a:gd name="T96" fmla="*/ 33043782 w 306"/>
                <a:gd name="T97" fmla="*/ 56626141 h 321"/>
                <a:gd name="T98" fmla="*/ 34753363 w 306"/>
                <a:gd name="T99" fmla="*/ 57165670 h 321"/>
                <a:gd name="T100" fmla="*/ 36652074 w 306"/>
                <a:gd name="T101" fmla="*/ 57165670 h 321"/>
                <a:gd name="T102" fmla="*/ 40450369 w 306"/>
                <a:gd name="T103" fmla="*/ 56626141 h 321"/>
                <a:gd name="T104" fmla="*/ 44058662 w 306"/>
                <a:gd name="T105" fmla="*/ 70378172 h 321"/>
                <a:gd name="T106" fmla="*/ 49186098 w 306"/>
                <a:gd name="T107" fmla="*/ 86557287 h 321"/>
                <a:gd name="T108" fmla="*/ 51654815 w 306"/>
                <a:gd name="T109" fmla="*/ 83860681 h 321"/>
                <a:gd name="T110" fmla="*/ 53553962 w 306"/>
                <a:gd name="T111" fmla="*/ 81434100 h 321"/>
                <a:gd name="T112" fmla="*/ 56022680 w 306"/>
                <a:gd name="T113" fmla="*/ 75501879 h 321"/>
                <a:gd name="T114" fmla="*/ 58111842 w 306"/>
                <a:gd name="T115" fmla="*/ 63367396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556" name="Freeform 273"/>
            <p:cNvSpPr>
              <a:spLocks/>
            </p:cNvSpPr>
            <p:nvPr>
              <p:custDataLst>
                <p:tags r:id="rId385"/>
              </p:custDataLst>
            </p:nvPr>
          </p:nvSpPr>
          <p:spPr bwMode="auto">
            <a:xfrm>
              <a:off x="5951133" y="2705074"/>
              <a:ext cx="207006" cy="111562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998263048 h 237"/>
                <a:gd name="T4" fmla="*/ 2147483647 w 471"/>
                <a:gd name="T5" fmla="*/ 185403333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1009469249 w 471"/>
                <a:gd name="T73" fmla="*/ 2147483647 h 237"/>
                <a:gd name="T74" fmla="*/ 5888247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15782" name="Freeform 196"/>
            <p:cNvSpPr>
              <a:spLocks/>
            </p:cNvSpPr>
            <p:nvPr>
              <p:custDataLst>
                <p:tags r:id="rId386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4"/>
                <a:gd name="T166" fmla="*/ 0 h 104"/>
                <a:gd name="T167" fmla="*/ 164 w 164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3" name="Freeform 220"/>
            <p:cNvSpPr>
              <a:spLocks/>
            </p:cNvSpPr>
            <p:nvPr>
              <p:custDataLst>
                <p:tags r:id="rId38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4" name="Freeform 236"/>
            <p:cNvSpPr>
              <a:spLocks/>
            </p:cNvSpPr>
            <p:nvPr>
              <p:custDataLst>
                <p:tags r:id="rId388"/>
              </p:custDataLst>
            </p:nvPr>
          </p:nvSpPr>
          <p:spPr bwMode="auto">
            <a:xfrm>
              <a:off x="3710363" y="2873089"/>
              <a:ext cx="414011" cy="469096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5" name="Freeform 247"/>
            <p:cNvSpPr>
              <a:spLocks/>
            </p:cNvSpPr>
            <p:nvPr>
              <p:custDataLst>
                <p:tags r:id="rId389"/>
              </p:custDataLst>
            </p:nvPr>
          </p:nvSpPr>
          <p:spPr bwMode="auto">
            <a:xfrm>
              <a:off x="4378427" y="3322024"/>
              <a:ext cx="325295" cy="244629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6" name="Freeform 248"/>
            <p:cNvSpPr>
              <a:spLocks/>
            </p:cNvSpPr>
            <p:nvPr>
              <p:custDataLst>
                <p:tags r:id="rId390"/>
              </p:custDataLst>
            </p:nvPr>
          </p:nvSpPr>
          <p:spPr bwMode="auto">
            <a:xfrm>
              <a:off x="4307184" y="3491383"/>
              <a:ext cx="500040" cy="552432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7" name="Freeform 257"/>
            <p:cNvSpPr>
              <a:spLocks/>
            </p:cNvSpPr>
            <p:nvPr>
              <p:custDataLst>
                <p:tags r:id="rId391"/>
              </p:custDataLst>
            </p:nvPr>
          </p:nvSpPr>
          <p:spPr bwMode="auto">
            <a:xfrm>
              <a:off x="5065309" y="3053201"/>
              <a:ext cx="248676" cy="228500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8" name="Freeform 356"/>
            <p:cNvSpPr>
              <a:spLocks/>
            </p:cNvSpPr>
            <p:nvPr>
              <p:custDataLst>
                <p:tags r:id="rId392"/>
              </p:custDataLst>
            </p:nvPr>
          </p:nvSpPr>
          <p:spPr bwMode="auto">
            <a:xfrm>
              <a:off x="5042459" y="3274979"/>
              <a:ext cx="243299" cy="431462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5" name="Freeform 450"/>
            <p:cNvSpPr>
              <a:spLocks/>
            </p:cNvSpPr>
            <p:nvPr>
              <p:custDataLst>
                <p:tags r:id="rId393"/>
              </p:custDataLst>
            </p:nvPr>
          </p:nvSpPr>
          <p:spPr bwMode="auto">
            <a:xfrm>
              <a:off x="2031466" y="3281700"/>
              <a:ext cx="298411" cy="524206"/>
            </a:xfrm>
            <a:custGeom>
              <a:avLst/>
              <a:gdLst>
                <a:gd name="T0" fmla="*/ 127747954 w 684"/>
                <a:gd name="T1" fmla="*/ 157887973 h 998"/>
                <a:gd name="T2" fmla="*/ 129461422 w 684"/>
                <a:gd name="T3" fmla="*/ 151550557 h 998"/>
                <a:gd name="T4" fmla="*/ 127747954 w 684"/>
                <a:gd name="T5" fmla="*/ 135293081 h 998"/>
                <a:gd name="T6" fmla="*/ 125463328 w 684"/>
                <a:gd name="T7" fmla="*/ 116555893 h 998"/>
                <a:gd name="T8" fmla="*/ 129080506 w 684"/>
                <a:gd name="T9" fmla="*/ 107187561 h 998"/>
                <a:gd name="T10" fmla="*/ 106043987 w 684"/>
                <a:gd name="T11" fmla="*/ 99472218 h 998"/>
                <a:gd name="T12" fmla="*/ 101474736 w 684"/>
                <a:gd name="T13" fmla="*/ 89828301 h 998"/>
                <a:gd name="T14" fmla="*/ 87957661 w 684"/>
                <a:gd name="T15" fmla="*/ 85419458 h 998"/>
                <a:gd name="T16" fmla="*/ 76534535 w 684"/>
                <a:gd name="T17" fmla="*/ 74397614 h 998"/>
                <a:gd name="T18" fmla="*/ 71394129 w 684"/>
                <a:gd name="T19" fmla="*/ 55384824 h 998"/>
                <a:gd name="T20" fmla="*/ 71394129 w 684"/>
                <a:gd name="T21" fmla="*/ 36647636 h 998"/>
                <a:gd name="T22" fmla="*/ 75201983 w 684"/>
                <a:gd name="T23" fmla="*/ 23146039 h 998"/>
                <a:gd name="T24" fmla="*/ 82817255 w 684"/>
                <a:gd name="T25" fmla="*/ 13226007 h 998"/>
                <a:gd name="T26" fmla="*/ 88147901 w 684"/>
                <a:gd name="T27" fmla="*/ 3030916 h 998"/>
                <a:gd name="T28" fmla="*/ 74059670 w 684"/>
                <a:gd name="T29" fmla="*/ 10746263 h 998"/>
                <a:gd name="T30" fmla="*/ 63778857 w 684"/>
                <a:gd name="T31" fmla="*/ 18737196 h 998"/>
                <a:gd name="T32" fmla="*/ 57876617 w 684"/>
                <a:gd name="T33" fmla="*/ 21492526 h 998"/>
                <a:gd name="T34" fmla="*/ 52926873 w 684"/>
                <a:gd name="T35" fmla="*/ 23146039 h 998"/>
                <a:gd name="T36" fmla="*/ 45882758 w 684"/>
                <a:gd name="T37" fmla="*/ 22319282 h 998"/>
                <a:gd name="T38" fmla="*/ 41313507 w 684"/>
                <a:gd name="T39" fmla="*/ 29759041 h 998"/>
                <a:gd name="T40" fmla="*/ 37315413 w 684"/>
                <a:gd name="T41" fmla="*/ 48220651 h 998"/>
                <a:gd name="T42" fmla="*/ 29890381 w 684"/>
                <a:gd name="T43" fmla="*/ 62548996 h 998"/>
                <a:gd name="T44" fmla="*/ 20370957 w 684"/>
                <a:gd name="T45" fmla="*/ 78255285 h 998"/>
                <a:gd name="T46" fmla="*/ 17134696 w 684"/>
                <a:gd name="T47" fmla="*/ 87348031 h 998"/>
                <a:gd name="T48" fmla="*/ 16372863 w 684"/>
                <a:gd name="T49" fmla="*/ 98094290 h 998"/>
                <a:gd name="T50" fmla="*/ 18467248 w 684"/>
                <a:gd name="T51" fmla="*/ 105258463 h 998"/>
                <a:gd name="T52" fmla="*/ 18467248 w 684"/>
                <a:gd name="T53" fmla="*/ 124271236 h 998"/>
                <a:gd name="T54" fmla="*/ 18086332 w 684"/>
                <a:gd name="T55" fmla="*/ 144661970 h 998"/>
                <a:gd name="T56" fmla="*/ 13707755 w 684"/>
                <a:gd name="T57" fmla="*/ 155132643 h 998"/>
                <a:gd name="T58" fmla="*/ 7044117 w 684"/>
                <a:gd name="T59" fmla="*/ 163123572 h 998"/>
                <a:gd name="T60" fmla="*/ 2094386 w 684"/>
                <a:gd name="T61" fmla="*/ 168634232 h 998"/>
                <a:gd name="T62" fmla="*/ 5711565 w 684"/>
                <a:gd name="T63" fmla="*/ 184064919 h 998"/>
                <a:gd name="T64" fmla="*/ 23417415 w 684"/>
                <a:gd name="T65" fmla="*/ 199771192 h 998"/>
                <a:gd name="T66" fmla="*/ 33317319 w 684"/>
                <a:gd name="T67" fmla="*/ 200597423 h 998"/>
                <a:gd name="T68" fmla="*/ 44549769 w 684"/>
                <a:gd name="T69" fmla="*/ 205557437 h 998"/>
                <a:gd name="T70" fmla="*/ 56924968 w 684"/>
                <a:gd name="T71" fmla="*/ 219059026 h 998"/>
                <a:gd name="T72" fmla="*/ 64159337 w 684"/>
                <a:gd name="T73" fmla="*/ 234214127 h 998"/>
                <a:gd name="T74" fmla="*/ 69870900 w 684"/>
                <a:gd name="T75" fmla="*/ 242756227 h 998"/>
                <a:gd name="T76" fmla="*/ 78438244 w 684"/>
                <a:gd name="T77" fmla="*/ 244133630 h 998"/>
                <a:gd name="T78" fmla="*/ 87957661 w 684"/>
                <a:gd name="T79" fmla="*/ 241378300 h 998"/>
                <a:gd name="T80" fmla="*/ 93669224 w 684"/>
                <a:gd name="T81" fmla="*/ 241929471 h 998"/>
                <a:gd name="T82" fmla="*/ 98047799 w 684"/>
                <a:gd name="T83" fmla="*/ 249093643 h 998"/>
                <a:gd name="T84" fmla="*/ 97667319 w 684"/>
                <a:gd name="T85" fmla="*/ 254053657 h 998"/>
                <a:gd name="T86" fmla="*/ 92907392 w 684"/>
                <a:gd name="T87" fmla="*/ 258186914 h 998"/>
                <a:gd name="T88" fmla="*/ 92907392 w 684"/>
                <a:gd name="T89" fmla="*/ 265351087 h 998"/>
                <a:gd name="T90" fmla="*/ 97286402 w 684"/>
                <a:gd name="T91" fmla="*/ 273892662 h 998"/>
                <a:gd name="T92" fmla="*/ 103188205 w 684"/>
                <a:gd name="T93" fmla="*/ 265075502 h 998"/>
                <a:gd name="T94" fmla="*/ 107757456 w 684"/>
                <a:gd name="T95" fmla="*/ 237245043 h 998"/>
                <a:gd name="T96" fmla="*/ 108709528 w 684"/>
                <a:gd name="T97" fmla="*/ 221263710 h 998"/>
                <a:gd name="T98" fmla="*/ 105663070 w 684"/>
                <a:gd name="T99" fmla="*/ 212446024 h 998"/>
                <a:gd name="T100" fmla="*/ 99571027 w 684"/>
                <a:gd name="T101" fmla="*/ 206384193 h 998"/>
                <a:gd name="T102" fmla="*/ 99190111 w 684"/>
                <a:gd name="T103" fmla="*/ 199220021 h 998"/>
                <a:gd name="T104" fmla="*/ 107757456 w 684"/>
                <a:gd name="T105" fmla="*/ 192882080 h 998"/>
                <a:gd name="T106" fmla="*/ 105853747 w 684"/>
                <a:gd name="T107" fmla="*/ 183238163 h 998"/>
                <a:gd name="T108" fmla="*/ 105853747 w 684"/>
                <a:gd name="T109" fmla="*/ 178829320 h 998"/>
                <a:gd name="T110" fmla="*/ 124701496 w 684"/>
                <a:gd name="T111" fmla="*/ 173043075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altLang="en-US"/>
            </a:p>
          </p:txBody>
        </p:sp>
        <p:sp>
          <p:nvSpPr>
            <p:cNvPr id="15790" name="Freeform 565"/>
            <p:cNvSpPr>
              <a:spLocks/>
            </p:cNvSpPr>
            <p:nvPr/>
          </p:nvSpPr>
          <p:spPr bwMode="auto">
            <a:xfrm>
              <a:off x="4610972" y="3261538"/>
              <a:ext cx="275560" cy="245974"/>
            </a:xfrm>
            <a:custGeom>
              <a:avLst/>
              <a:gdLst>
                <a:gd name="T0" fmla="*/ 140864 w 274304"/>
                <a:gd name="T1" fmla="*/ 231003 h 245329"/>
                <a:gd name="T2" fmla="*/ 80495 w 274304"/>
                <a:gd name="T3" fmla="*/ 226088 h 245329"/>
                <a:gd name="T4" fmla="*/ 83009 w 274304"/>
                <a:gd name="T5" fmla="*/ 203970 h 245329"/>
                <a:gd name="T6" fmla="*/ 47794 w 274304"/>
                <a:gd name="T7" fmla="*/ 157278 h 245329"/>
                <a:gd name="T8" fmla="*/ 45279 w 274304"/>
                <a:gd name="T9" fmla="*/ 127788 h 245329"/>
                <a:gd name="T10" fmla="*/ 42762 w 274304"/>
                <a:gd name="T11" fmla="*/ 120416 h 245329"/>
                <a:gd name="T12" fmla="*/ 5032 w 274304"/>
                <a:gd name="T13" fmla="*/ 105671 h 245329"/>
                <a:gd name="T14" fmla="*/ 0 w 274304"/>
                <a:gd name="T15" fmla="*/ 66352 h 245329"/>
                <a:gd name="T16" fmla="*/ 40246 w 274304"/>
                <a:gd name="T17" fmla="*/ 41777 h 245329"/>
                <a:gd name="T18" fmla="*/ 67917 w 274304"/>
                <a:gd name="T19" fmla="*/ 58979 h 245329"/>
                <a:gd name="T20" fmla="*/ 85526 w 274304"/>
                <a:gd name="T21" fmla="*/ 31947 h 245329"/>
                <a:gd name="T22" fmla="*/ 95588 w 274304"/>
                <a:gd name="T23" fmla="*/ 63895 h 245329"/>
                <a:gd name="T24" fmla="*/ 128288 w 274304"/>
                <a:gd name="T25" fmla="*/ 34406 h 245329"/>
                <a:gd name="T26" fmla="*/ 150925 w 274304"/>
                <a:gd name="T27" fmla="*/ 68809 h 245329"/>
                <a:gd name="T28" fmla="*/ 178596 w 274304"/>
                <a:gd name="T29" fmla="*/ 73724 h 245329"/>
                <a:gd name="T30" fmla="*/ 186144 w 274304"/>
                <a:gd name="T31" fmla="*/ 44235 h 245329"/>
                <a:gd name="T32" fmla="*/ 166020 w 274304"/>
                <a:gd name="T33" fmla="*/ 9830 h 245329"/>
                <a:gd name="T34" fmla="*/ 163503 w 274304"/>
                <a:gd name="T35" fmla="*/ 0 h 245329"/>
                <a:gd name="T36" fmla="*/ 188658 w 274304"/>
                <a:gd name="T37" fmla="*/ 0 h 245329"/>
                <a:gd name="T38" fmla="*/ 201234 w 274304"/>
                <a:gd name="T39" fmla="*/ 14746 h 245329"/>
                <a:gd name="T40" fmla="*/ 201234 w 274304"/>
                <a:gd name="T41" fmla="*/ 34406 h 245329"/>
                <a:gd name="T42" fmla="*/ 198718 w 274304"/>
                <a:gd name="T43" fmla="*/ 63895 h 245329"/>
                <a:gd name="T44" fmla="*/ 198718 w 274304"/>
                <a:gd name="T45" fmla="*/ 78639 h 245329"/>
                <a:gd name="T46" fmla="*/ 208781 w 274304"/>
                <a:gd name="T47" fmla="*/ 88469 h 245329"/>
                <a:gd name="T48" fmla="*/ 241484 w 274304"/>
                <a:gd name="T49" fmla="*/ 98298 h 245329"/>
                <a:gd name="T50" fmla="*/ 223873 w 274304"/>
                <a:gd name="T51" fmla="*/ 125332 h 245329"/>
                <a:gd name="T52" fmla="*/ 226388 w 274304"/>
                <a:gd name="T53" fmla="*/ 144989 h 245329"/>
                <a:gd name="T54" fmla="*/ 259091 w 274304"/>
                <a:gd name="T55" fmla="*/ 159735 h 245329"/>
                <a:gd name="T56" fmla="*/ 264120 w 274304"/>
                <a:gd name="T57" fmla="*/ 174482 h 245329"/>
                <a:gd name="T58" fmla="*/ 289278 w 274304"/>
                <a:gd name="T59" fmla="*/ 218717 h 245329"/>
                <a:gd name="T60" fmla="*/ 269152 w 274304"/>
                <a:gd name="T61" fmla="*/ 221171 h 245329"/>
                <a:gd name="T62" fmla="*/ 249027 w 274304"/>
                <a:gd name="T63" fmla="*/ 243291 h 245329"/>
                <a:gd name="T64" fmla="*/ 193689 w 274304"/>
                <a:gd name="T65" fmla="*/ 253121 h 245329"/>
                <a:gd name="T66" fmla="*/ 140863 w 274304"/>
                <a:gd name="T67" fmla="*/ 223629 h 245329"/>
                <a:gd name="T68" fmla="*/ 140864 w 274304"/>
                <a:gd name="T69" fmla="*/ 231003 h 24532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74304"/>
                <a:gd name="T106" fmla="*/ 0 h 245329"/>
                <a:gd name="T107" fmla="*/ 274304 w 274304"/>
                <a:gd name="T108" fmla="*/ 245329 h 24532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74304" h="245329">
                  <a:moveTo>
                    <a:pt x="133350" y="223838"/>
                  </a:moveTo>
                  <a:lnTo>
                    <a:pt x="76200" y="219075"/>
                  </a:lnTo>
                  <a:lnTo>
                    <a:pt x="78581" y="197644"/>
                  </a:lnTo>
                  <a:lnTo>
                    <a:pt x="45244" y="152400"/>
                  </a:lnTo>
                  <a:lnTo>
                    <a:pt x="42863" y="123825"/>
                  </a:lnTo>
                  <a:lnTo>
                    <a:pt x="40481" y="116681"/>
                  </a:lnTo>
                  <a:lnTo>
                    <a:pt x="4763" y="102394"/>
                  </a:lnTo>
                  <a:lnTo>
                    <a:pt x="0" y="64294"/>
                  </a:lnTo>
                  <a:lnTo>
                    <a:pt x="38100" y="40481"/>
                  </a:lnTo>
                  <a:lnTo>
                    <a:pt x="64294" y="57150"/>
                  </a:lnTo>
                  <a:lnTo>
                    <a:pt x="80963" y="30956"/>
                  </a:lnTo>
                  <a:lnTo>
                    <a:pt x="90488" y="61913"/>
                  </a:lnTo>
                  <a:lnTo>
                    <a:pt x="121444" y="33338"/>
                  </a:lnTo>
                  <a:lnTo>
                    <a:pt x="142875" y="66675"/>
                  </a:lnTo>
                  <a:lnTo>
                    <a:pt x="169069" y="71438"/>
                  </a:lnTo>
                  <a:lnTo>
                    <a:pt x="176213" y="42863"/>
                  </a:lnTo>
                  <a:lnTo>
                    <a:pt x="157163" y="9525"/>
                  </a:lnTo>
                  <a:lnTo>
                    <a:pt x="154781" y="0"/>
                  </a:lnTo>
                  <a:lnTo>
                    <a:pt x="178594" y="0"/>
                  </a:lnTo>
                  <a:lnTo>
                    <a:pt x="190500" y="14288"/>
                  </a:lnTo>
                  <a:lnTo>
                    <a:pt x="190500" y="33338"/>
                  </a:lnTo>
                  <a:lnTo>
                    <a:pt x="188119" y="61913"/>
                  </a:lnTo>
                  <a:lnTo>
                    <a:pt x="188119" y="76200"/>
                  </a:lnTo>
                  <a:lnTo>
                    <a:pt x="197644" y="85725"/>
                  </a:lnTo>
                  <a:lnTo>
                    <a:pt x="228600" y="95250"/>
                  </a:lnTo>
                  <a:lnTo>
                    <a:pt x="211931" y="121444"/>
                  </a:lnTo>
                  <a:lnTo>
                    <a:pt x="214312" y="140495"/>
                  </a:lnTo>
                  <a:lnTo>
                    <a:pt x="245269" y="154781"/>
                  </a:lnTo>
                  <a:lnTo>
                    <a:pt x="250031" y="169069"/>
                  </a:lnTo>
                  <a:cubicBezTo>
                    <a:pt x="251618" y="169863"/>
                    <a:pt x="274836" y="211931"/>
                    <a:pt x="273844" y="211931"/>
                  </a:cubicBezTo>
                  <a:cubicBezTo>
                    <a:pt x="277813" y="219472"/>
                    <a:pt x="254793" y="213817"/>
                    <a:pt x="254793" y="214313"/>
                  </a:cubicBezTo>
                  <a:cubicBezTo>
                    <a:pt x="251221" y="214710"/>
                    <a:pt x="236240" y="235745"/>
                    <a:pt x="235744" y="235745"/>
                  </a:cubicBezTo>
                  <a:cubicBezTo>
                    <a:pt x="232569" y="239317"/>
                    <a:pt x="183356" y="245269"/>
                    <a:pt x="183356" y="245269"/>
                  </a:cubicBezTo>
                  <a:cubicBezTo>
                    <a:pt x="174228" y="246856"/>
                    <a:pt x="133845" y="216693"/>
                    <a:pt x="133349" y="216693"/>
                  </a:cubicBezTo>
                  <a:cubicBezTo>
                    <a:pt x="133349" y="219075"/>
                    <a:pt x="133350" y="221456"/>
                    <a:pt x="133350" y="223838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1" name="Freeform 566"/>
            <p:cNvSpPr>
              <a:spLocks/>
            </p:cNvSpPr>
            <p:nvPr/>
          </p:nvSpPr>
          <p:spPr bwMode="auto">
            <a:xfrm>
              <a:off x="4557205" y="2942983"/>
              <a:ext cx="391161" cy="419364"/>
            </a:xfrm>
            <a:custGeom>
              <a:avLst/>
              <a:gdLst>
                <a:gd name="T0" fmla="*/ 24998 w 407193"/>
                <a:gd name="T1" fmla="*/ 198214 h 445294"/>
                <a:gd name="T2" fmla="*/ 0 w 407193"/>
                <a:gd name="T3" fmla="*/ 153005 h 445294"/>
                <a:gd name="T4" fmla="*/ 7352 w 407193"/>
                <a:gd name="T5" fmla="*/ 126348 h 445294"/>
                <a:gd name="T6" fmla="*/ 29410 w 407193"/>
                <a:gd name="T7" fmla="*/ 105482 h 445294"/>
                <a:gd name="T8" fmla="*/ 29410 w 407193"/>
                <a:gd name="T9" fmla="*/ 45208 h 445294"/>
                <a:gd name="T10" fmla="*/ 44116 w 407193"/>
                <a:gd name="T11" fmla="*/ 42888 h 445294"/>
                <a:gd name="T12" fmla="*/ 44116 w 407193"/>
                <a:gd name="T13" fmla="*/ 15069 h 445294"/>
                <a:gd name="T14" fmla="*/ 186754 w 407193"/>
                <a:gd name="T15" fmla="*/ 15069 h 445294"/>
                <a:gd name="T16" fmla="*/ 201460 w 407193"/>
                <a:gd name="T17" fmla="*/ 0 h 445294"/>
                <a:gd name="T18" fmla="*/ 213225 w 407193"/>
                <a:gd name="T19" fmla="*/ 3479 h 445294"/>
                <a:gd name="T20" fmla="*/ 229400 w 407193"/>
                <a:gd name="T21" fmla="*/ 22024 h 445294"/>
                <a:gd name="T22" fmla="*/ 230871 w 407193"/>
                <a:gd name="T23" fmla="*/ 46366 h 445294"/>
                <a:gd name="T24" fmla="*/ 233810 w 407193"/>
                <a:gd name="T25" fmla="*/ 63754 h 445294"/>
                <a:gd name="T26" fmla="*/ 251457 w 407193"/>
                <a:gd name="T27" fmla="*/ 71867 h 445294"/>
                <a:gd name="T28" fmla="*/ 245575 w 407193"/>
                <a:gd name="T29" fmla="*/ 79981 h 445294"/>
                <a:gd name="T30" fmla="*/ 230871 w 407193"/>
                <a:gd name="T31" fmla="*/ 97367 h 445294"/>
                <a:gd name="T32" fmla="*/ 227928 w 407193"/>
                <a:gd name="T33" fmla="*/ 115915 h 445294"/>
                <a:gd name="T34" fmla="*/ 226458 w 407193"/>
                <a:gd name="T35" fmla="*/ 136780 h 445294"/>
                <a:gd name="T36" fmla="*/ 219107 w 407193"/>
                <a:gd name="T37" fmla="*/ 159961 h 445294"/>
                <a:gd name="T38" fmla="*/ 201460 w 407193"/>
                <a:gd name="T39" fmla="*/ 183144 h 445294"/>
                <a:gd name="T40" fmla="*/ 192637 w 407193"/>
                <a:gd name="T41" fmla="*/ 216759 h 445294"/>
                <a:gd name="T42" fmla="*/ 163226 w 407193"/>
                <a:gd name="T43" fmla="*/ 205168 h 445294"/>
                <a:gd name="T44" fmla="*/ 161757 w 407193"/>
                <a:gd name="T45" fmla="*/ 183144 h 445294"/>
                <a:gd name="T46" fmla="*/ 161757 w 407193"/>
                <a:gd name="T47" fmla="*/ 173871 h 445294"/>
                <a:gd name="T48" fmla="*/ 149991 w 407193"/>
                <a:gd name="T49" fmla="*/ 162280 h 445294"/>
                <a:gd name="T50" fmla="*/ 127935 w 407193"/>
                <a:gd name="T51" fmla="*/ 162280 h 445294"/>
                <a:gd name="T52" fmla="*/ 127935 w 407193"/>
                <a:gd name="T53" fmla="*/ 172712 h 445294"/>
                <a:gd name="T54" fmla="*/ 138228 w 407193"/>
                <a:gd name="T55" fmla="*/ 183144 h 445294"/>
                <a:gd name="T56" fmla="*/ 139696 w 407193"/>
                <a:gd name="T57" fmla="*/ 194737 h 445294"/>
                <a:gd name="T58" fmla="*/ 111759 w 407193"/>
                <a:gd name="T59" fmla="*/ 180827 h 445294"/>
                <a:gd name="T60" fmla="*/ 98523 w 407193"/>
                <a:gd name="T61" fmla="*/ 186622 h 445294"/>
                <a:gd name="T62" fmla="*/ 83820 w 407193"/>
                <a:gd name="T63" fmla="*/ 176190 h 445294"/>
                <a:gd name="T64" fmla="*/ 74996 w 407193"/>
                <a:gd name="T65" fmla="*/ 187781 h 445294"/>
                <a:gd name="T66" fmla="*/ 69114 w 407193"/>
                <a:gd name="T67" fmla="*/ 187781 h 445294"/>
                <a:gd name="T68" fmla="*/ 61761 w 407193"/>
                <a:gd name="T69" fmla="*/ 179667 h 445294"/>
                <a:gd name="T70" fmla="*/ 24998 w 407193"/>
                <a:gd name="T71" fmla="*/ 198214 h 44529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07193"/>
                <a:gd name="T109" fmla="*/ 0 h 445294"/>
                <a:gd name="T110" fmla="*/ 407193 w 407193"/>
                <a:gd name="T111" fmla="*/ 445294 h 44529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07193" h="445294">
                  <a:moveTo>
                    <a:pt x="40481" y="407194"/>
                  </a:moveTo>
                  <a:lnTo>
                    <a:pt x="0" y="314325"/>
                  </a:lnTo>
                  <a:lnTo>
                    <a:pt x="11906" y="259557"/>
                  </a:lnTo>
                  <a:lnTo>
                    <a:pt x="47625" y="216694"/>
                  </a:lnTo>
                  <a:lnTo>
                    <a:pt x="47625" y="92869"/>
                  </a:lnTo>
                  <a:lnTo>
                    <a:pt x="71437" y="88107"/>
                  </a:lnTo>
                  <a:lnTo>
                    <a:pt x="71437" y="30957"/>
                  </a:lnTo>
                  <a:lnTo>
                    <a:pt x="302418" y="30957"/>
                  </a:lnTo>
                  <a:lnTo>
                    <a:pt x="326231" y="0"/>
                  </a:lnTo>
                  <a:lnTo>
                    <a:pt x="345281" y="7144"/>
                  </a:lnTo>
                  <a:lnTo>
                    <a:pt x="371475" y="45244"/>
                  </a:lnTo>
                  <a:lnTo>
                    <a:pt x="373856" y="95250"/>
                  </a:lnTo>
                  <a:lnTo>
                    <a:pt x="378618" y="130969"/>
                  </a:lnTo>
                  <a:lnTo>
                    <a:pt x="407193" y="147638"/>
                  </a:lnTo>
                  <a:lnTo>
                    <a:pt x="397668" y="164307"/>
                  </a:lnTo>
                  <a:lnTo>
                    <a:pt x="373856" y="200025"/>
                  </a:lnTo>
                  <a:lnTo>
                    <a:pt x="369093" y="238125"/>
                  </a:lnTo>
                  <a:lnTo>
                    <a:pt x="366712" y="280988"/>
                  </a:lnTo>
                  <a:lnTo>
                    <a:pt x="354806" y="328613"/>
                  </a:lnTo>
                  <a:lnTo>
                    <a:pt x="326231" y="376238"/>
                  </a:lnTo>
                  <a:lnTo>
                    <a:pt x="311943" y="445294"/>
                  </a:lnTo>
                  <a:lnTo>
                    <a:pt x="264318" y="421482"/>
                  </a:lnTo>
                  <a:lnTo>
                    <a:pt x="261937" y="376238"/>
                  </a:lnTo>
                  <a:lnTo>
                    <a:pt x="261937" y="357188"/>
                  </a:lnTo>
                  <a:lnTo>
                    <a:pt x="242887" y="333375"/>
                  </a:lnTo>
                  <a:lnTo>
                    <a:pt x="207168" y="333375"/>
                  </a:lnTo>
                  <a:lnTo>
                    <a:pt x="207168" y="354807"/>
                  </a:lnTo>
                  <a:lnTo>
                    <a:pt x="223837" y="376238"/>
                  </a:lnTo>
                  <a:lnTo>
                    <a:pt x="226218" y="400050"/>
                  </a:lnTo>
                  <a:lnTo>
                    <a:pt x="180975" y="371475"/>
                  </a:lnTo>
                  <a:lnTo>
                    <a:pt x="159543" y="383382"/>
                  </a:lnTo>
                  <a:lnTo>
                    <a:pt x="135731" y="361950"/>
                  </a:lnTo>
                  <a:lnTo>
                    <a:pt x="121443" y="385763"/>
                  </a:lnTo>
                  <a:lnTo>
                    <a:pt x="111918" y="385763"/>
                  </a:lnTo>
                  <a:lnTo>
                    <a:pt x="100012" y="369094"/>
                  </a:lnTo>
                  <a:lnTo>
                    <a:pt x="40481" y="40719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2" name="Freeform 77"/>
            <p:cNvSpPr>
              <a:spLocks/>
            </p:cNvSpPr>
            <p:nvPr>
              <p:custDataLst>
                <p:tags r:id="rId394"/>
              </p:custDataLst>
            </p:nvPr>
          </p:nvSpPr>
          <p:spPr bwMode="auto">
            <a:xfrm>
              <a:off x="7362825" y="3386138"/>
              <a:ext cx="9525" cy="57150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3" name="Freeform 80"/>
            <p:cNvSpPr>
              <a:spLocks/>
            </p:cNvSpPr>
            <p:nvPr>
              <p:custDataLst>
                <p:tags r:id="rId395"/>
              </p:custDataLst>
            </p:nvPr>
          </p:nvSpPr>
          <p:spPr bwMode="auto">
            <a:xfrm>
              <a:off x="7426325" y="3375025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  <a:gd name="T9" fmla="*/ 0 w 7"/>
                <a:gd name="T10" fmla="*/ 0 h 55563"/>
                <a:gd name="T11" fmla="*/ 7 w 7"/>
                <a:gd name="T12" fmla="*/ 55563 h 555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4" name="Freeform 260"/>
            <p:cNvSpPr>
              <a:spLocks/>
            </p:cNvSpPr>
            <p:nvPr>
              <p:custDataLst>
                <p:tags r:id="rId396"/>
              </p:custDataLst>
            </p:nvPr>
          </p:nvSpPr>
          <p:spPr bwMode="auto">
            <a:xfrm>
              <a:off x="5448405" y="2430874"/>
              <a:ext cx="332015" cy="290329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5" name="Freeform 261"/>
            <p:cNvSpPr>
              <a:spLocks/>
            </p:cNvSpPr>
            <p:nvPr>
              <p:custDataLst>
                <p:tags r:id="rId397"/>
              </p:custDataLst>
            </p:nvPr>
          </p:nvSpPr>
          <p:spPr bwMode="auto">
            <a:xfrm>
              <a:off x="5480665" y="2479262"/>
              <a:ext cx="364276" cy="424741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6" name="Freeform 273"/>
            <p:cNvSpPr>
              <a:spLocks/>
            </p:cNvSpPr>
            <p:nvPr>
              <p:custDataLst>
                <p:tags r:id="rId398"/>
              </p:custDataLst>
            </p:nvPr>
          </p:nvSpPr>
          <p:spPr bwMode="auto">
            <a:xfrm>
              <a:off x="5951133" y="2701591"/>
              <a:ext cx="207006" cy="123659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7" name="Freeform 275"/>
            <p:cNvSpPr>
              <a:spLocks/>
            </p:cNvSpPr>
            <p:nvPr>
              <p:custDataLst>
                <p:tags r:id="rId399"/>
              </p:custDataLst>
            </p:nvPr>
          </p:nvSpPr>
          <p:spPr bwMode="auto">
            <a:xfrm>
              <a:off x="6161771" y="2834111"/>
              <a:ext cx="133075" cy="166670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1" name="Freeform 283"/>
            <p:cNvSpPr>
              <a:spLocks/>
            </p:cNvSpPr>
            <p:nvPr/>
          </p:nvSpPr>
          <p:spPr bwMode="auto">
            <a:xfrm>
              <a:off x="7056060" y="3293797"/>
              <a:ext cx="25539" cy="57797"/>
            </a:xfrm>
            <a:custGeom>
              <a:avLst/>
              <a:gdLst>
                <a:gd name="T0" fmla="*/ 2147483647 w 60"/>
                <a:gd name="T1" fmla="*/ 2147483647 h 110"/>
                <a:gd name="T2" fmla="*/ 2147483647 w 60"/>
                <a:gd name="T3" fmla="*/ 2147483647 h 110"/>
                <a:gd name="T4" fmla="*/ 2147483647 w 60"/>
                <a:gd name="T5" fmla="*/ 2147483647 h 110"/>
                <a:gd name="T6" fmla="*/ 2147483647 w 60"/>
                <a:gd name="T7" fmla="*/ 2147483647 h 110"/>
                <a:gd name="T8" fmla="*/ 2147483647 w 60"/>
                <a:gd name="T9" fmla="*/ 2147483647 h 110"/>
                <a:gd name="T10" fmla="*/ 2147483647 w 60"/>
                <a:gd name="T11" fmla="*/ 2147483647 h 110"/>
                <a:gd name="T12" fmla="*/ 2147483647 w 60"/>
                <a:gd name="T13" fmla="*/ 2147483647 h 110"/>
                <a:gd name="T14" fmla="*/ 2147483647 w 60"/>
                <a:gd name="T15" fmla="*/ 2147483647 h 110"/>
                <a:gd name="T16" fmla="*/ 2147483647 w 60"/>
                <a:gd name="T17" fmla="*/ 2147483647 h 110"/>
                <a:gd name="T18" fmla="*/ 2147483647 w 60"/>
                <a:gd name="T19" fmla="*/ 2147483647 h 110"/>
                <a:gd name="T20" fmla="*/ 2147483647 w 60"/>
                <a:gd name="T21" fmla="*/ 2147483647 h 110"/>
                <a:gd name="T22" fmla="*/ 2147483647 w 60"/>
                <a:gd name="T23" fmla="*/ 2147483647 h 110"/>
                <a:gd name="T24" fmla="*/ 2147483647 w 60"/>
                <a:gd name="T25" fmla="*/ 2147483647 h 110"/>
                <a:gd name="T26" fmla="*/ 2147483647 w 60"/>
                <a:gd name="T27" fmla="*/ 2147483647 h 110"/>
                <a:gd name="T28" fmla="*/ 2147483647 w 60"/>
                <a:gd name="T29" fmla="*/ 2147483647 h 110"/>
                <a:gd name="T30" fmla="*/ 2147483647 w 60"/>
                <a:gd name="T31" fmla="*/ 2147483647 h 110"/>
                <a:gd name="T32" fmla="*/ 2147483647 w 60"/>
                <a:gd name="T33" fmla="*/ 0 h 110"/>
                <a:gd name="T34" fmla="*/ 2147483647 w 60"/>
                <a:gd name="T35" fmla="*/ 0 h 110"/>
                <a:gd name="T36" fmla="*/ 2147483647 w 60"/>
                <a:gd name="T37" fmla="*/ 2147483647 h 110"/>
                <a:gd name="T38" fmla="*/ 2147483647 w 60"/>
                <a:gd name="T39" fmla="*/ 2147483647 h 110"/>
                <a:gd name="T40" fmla="*/ 2147483647 w 60"/>
                <a:gd name="T41" fmla="*/ 2147483647 h 110"/>
                <a:gd name="T42" fmla="*/ 2147483647 w 60"/>
                <a:gd name="T43" fmla="*/ 2147483647 h 110"/>
                <a:gd name="T44" fmla="*/ 2147483647 w 60"/>
                <a:gd name="T45" fmla="*/ 2147483647 h 110"/>
                <a:gd name="T46" fmla="*/ 2147483647 w 60"/>
                <a:gd name="T47" fmla="*/ 2147483647 h 110"/>
                <a:gd name="T48" fmla="*/ 2147483647 w 60"/>
                <a:gd name="T49" fmla="*/ 2147483647 h 110"/>
                <a:gd name="T50" fmla="*/ 2147483647 w 60"/>
                <a:gd name="T51" fmla="*/ 2147483647 h 110"/>
                <a:gd name="T52" fmla="*/ 0 w 60"/>
                <a:gd name="T53" fmla="*/ 2147483647 h 110"/>
                <a:gd name="T54" fmla="*/ 0 w 60"/>
                <a:gd name="T55" fmla="*/ 2147483647 h 110"/>
                <a:gd name="T56" fmla="*/ 0 w 60"/>
                <a:gd name="T57" fmla="*/ 2147483647 h 110"/>
                <a:gd name="T58" fmla="*/ 0 w 60"/>
                <a:gd name="T59" fmla="*/ 2147483647 h 110"/>
                <a:gd name="T60" fmla="*/ 0 w 60"/>
                <a:gd name="T61" fmla="*/ 2147483647 h 110"/>
                <a:gd name="T62" fmla="*/ 2147483647 w 60"/>
                <a:gd name="T63" fmla="*/ 2147483647 h 110"/>
                <a:gd name="T64" fmla="*/ 2147483647 w 60"/>
                <a:gd name="T65" fmla="*/ 2147483647 h 110"/>
                <a:gd name="T66" fmla="*/ 2147483647 w 60"/>
                <a:gd name="T67" fmla="*/ 2147483647 h 110"/>
                <a:gd name="T68" fmla="*/ 2147483647 w 60"/>
                <a:gd name="T69" fmla="*/ 2147483647 h 110"/>
                <a:gd name="T70" fmla="*/ 2147483647 w 60"/>
                <a:gd name="T71" fmla="*/ 2147483647 h 110"/>
                <a:gd name="T72" fmla="*/ 2147483647 w 60"/>
                <a:gd name="T73" fmla="*/ 214748364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0"/>
                <a:gd name="T112" fmla="*/ 0 h 110"/>
                <a:gd name="T113" fmla="*/ 60 w 60"/>
                <a:gd name="T114" fmla="*/ 110 h 11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02" name="Freeform 284"/>
            <p:cNvSpPr>
              <a:spLocks/>
            </p:cNvSpPr>
            <p:nvPr/>
          </p:nvSpPr>
          <p:spPr bwMode="auto">
            <a:xfrm>
              <a:off x="7103106" y="3250785"/>
              <a:ext cx="30917" cy="40324"/>
            </a:xfrm>
            <a:custGeom>
              <a:avLst/>
              <a:gdLst>
                <a:gd name="T0" fmla="*/ 0 w 72"/>
                <a:gd name="T1" fmla="*/ 2147483647 h 75"/>
                <a:gd name="T2" fmla="*/ 2147483647 w 72"/>
                <a:gd name="T3" fmla="*/ 2147483647 h 75"/>
                <a:gd name="T4" fmla="*/ 2147483647 w 72"/>
                <a:gd name="T5" fmla="*/ 2147483647 h 75"/>
                <a:gd name="T6" fmla="*/ 2147483647 w 72"/>
                <a:gd name="T7" fmla="*/ 2147483647 h 75"/>
                <a:gd name="T8" fmla="*/ 2147483647 w 72"/>
                <a:gd name="T9" fmla="*/ 2147483647 h 75"/>
                <a:gd name="T10" fmla="*/ 2147483647 w 72"/>
                <a:gd name="T11" fmla="*/ 2147483647 h 75"/>
                <a:gd name="T12" fmla="*/ 2147483647 w 72"/>
                <a:gd name="T13" fmla="*/ 2147483647 h 75"/>
                <a:gd name="T14" fmla="*/ 2147483647 w 72"/>
                <a:gd name="T15" fmla="*/ 2147483647 h 75"/>
                <a:gd name="T16" fmla="*/ 2147483647 w 72"/>
                <a:gd name="T17" fmla="*/ 2147483647 h 75"/>
                <a:gd name="T18" fmla="*/ 2147483647 w 72"/>
                <a:gd name="T19" fmla="*/ 2147483647 h 75"/>
                <a:gd name="T20" fmla="*/ 2147483647 w 72"/>
                <a:gd name="T21" fmla="*/ 2147483647 h 75"/>
                <a:gd name="T22" fmla="*/ 2147483647 w 72"/>
                <a:gd name="T23" fmla="*/ 2147483647 h 75"/>
                <a:gd name="T24" fmla="*/ 2147483647 w 72"/>
                <a:gd name="T25" fmla="*/ 2147483647 h 75"/>
                <a:gd name="T26" fmla="*/ 2147483647 w 72"/>
                <a:gd name="T27" fmla="*/ 2147483647 h 75"/>
                <a:gd name="T28" fmla="*/ 2147483647 w 72"/>
                <a:gd name="T29" fmla="*/ 2147483647 h 75"/>
                <a:gd name="T30" fmla="*/ 2147483647 w 72"/>
                <a:gd name="T31" fmla="*/ 0 h 75"/>
                <a:gd name="T32" fmla="*/ 2147483647 w 72"/>
                <a:gd name="T33" fmla="*/ 0 h 75"/>
                <a:gd name="T34" fmla="*/ 2147483647 w 72"/>
                <a:gd name="T35" fmla="*/ 0 h 75"/>
                <a:gd name="T36" fmla="*/ 2147483647 w 72"/>
                <a:gd name="T37" fmla="*/ 0 h 75"/>
                <a:gd name="T38" fmla="*/ 2147483647 w 72"/>
                <a:gd name="T39" fmla="*/ 0 h 75"/>
                <a:gd name="T40" fmla="*/ 2147483647 w 72"/>
                <a:gd name="T41" fmla="*/ 2147483647 h 75"/>
                <a:gd name="T42" fmla="*/ 2147483647 w 72"/>
                <a:gd name="T43" fmla="*/ 2147483647 h 75"/>
                <a:gd name="T44" fmla="*/ 0 w 72"/>
                <a:gd name="T45" fmla="*/ 2147483647 h 75"/>
                <a:gd name="T46" fmla="*/ 0 w 72"/>
                <a:gd name="T47" fmla="*/ 2147483647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2"/>
                <a:gd name="T73" fmla="*/ 0 h 75"/>
                <a:gd name="T74" fmla="*/ 72 w 72"/>
                <a:gd name="T75" fmla="*/ 75 h 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800" name="Freeform 285"/>
            <p:cNvSpPr>
              <a:spLocks/>
            </p:cNvSpPr>
            <p:nvPr/>
          </p:nvSpPr>
          <p:spPr bwMode="auto">
            <a:xfrm>
              <a:off x="7064375" y="3198813"/>
              <a:ext cx="7938" cy="25400"/>
            </a:xfrm>
            <a:custGeom>
              <a:avLst/>
              <a:gdLst>
                <a:gd name="T0" fmla="*/ 2147483647 w 15"/>
                <a:gd name="T1" fmla="*/ 2147483647 h 49"/>
                <a:gd name="T2" fmla="*/ 2147483647 w 15"/>
                <a:gd name="T3" fmla="*/ 2147483647 h 49"/>
                <a:gd name="T4" fmla="*/ 2147483647 w 15"/>
                <a:gd name="T5" fmla="*/ 2147483647 h 49"/>
                <a:gd name="T6" fmla="*/ 2147483647 w 15"/>
                <a:gd name="T7" fmla="*/ 2147483647 h 49"/>
                <a:gd name="T8" fmla="*/ 2147483647 w 15"/>
                <a:gd name="T9" fmla="*/ 2147483647 h 49"/>
                <a:gd name="T10" fmla="*/ 2147483647 w 15"/>
                <a:gd name="T11" fmla="*/ 0 h 49"/>
                <a:gd name="T12" fmla="*/ 2147483647 w 15"/>
                <a:gd name="T13" fmla="*/ 0 h 49"/>
                <a:gd name="T14" fmla="*/ 0 w 15"/>
                <a:gd name="T15" fmla="*/ 2147483647 h 49"/>
                <a:gd name="T16" fmla="*/ 0 w 15"/>
                <a:gd name="T17" fmla="*/ 2147483647 h 49"/>
                <a:gd name="T18" fmla="*/ 0 w 15"/>
                <a:gd name="T19" fmla="*/ 2147483647 h 49"/>
                <a:gd name="T20" fmla="*/ 0 w 15"/>
                <a:gd name="T21" fmla="*/ 2147483647 h 49"/>
                <a:gd name="T22" fmla="*/ 0 w 15"/>
                <a:gd name="T23" fmla="*/ 2147483647 h 49"/>
                <a:gd name="T24" fmla="*/ 0 w 15"/>
                <a:gd name="T25" fmla="*/ 2147483647 h 49"/>
                <a:gd name="T26" fmla="*/ 2147483647 w 15"/>
                <a:gd name="T27" fmla="*/ 2147483647 h 49"/>
                <a:gd name="T28" fmla="*/ 2147483647 w 15"/>
                <a:gd name="T29" fmla="*/ 2147483647 h 49"/>
                <a:gd name="T30" fmla="*/ 2147483647 w 15"/>
                <a:gd name="T31" fmla="*/ 2147483647 h 49"/>
                <a:gd name="T32" fmla="*/ 2147483647 w 15"/>
                <a:gd name="T33" fmla="*/ 2147483647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49"/>
                <a:gd name="T53" fmla="*/ 15 w 15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4" name="Freeform 286"/>
            <p:cNvSpPr>
              <a:spLocks/>
            </p:cNvSpPr>
            <p:nvPr/>
          </p:nvSpPr>
          <p:spPr bwMode="auto">
            <a:xfrm>
              <a:off x="7037241" y="3195677"/>
              <a:ext cx="18819" cy="20161"/>
            </a:xfrm>
            <a:custGeom>
              <a:avLst/>
              <a:gdLst>
                <a:gd name="T0" fmla="*/ 2147483647 w 47"/>
                <a:gd name="T1" fmla="*/ 2147483647 h 40"/>
                <a:gd name="T2" fmla="*/ 0 w 47"/>
                <a:gd name="T3" fmla="*/ 2147483647 h 40"/>
                <a:gd name="T4" fmla="*/ 2147483647 w 47"/>
                <a:gd name="T5" fmla="*/ 2147483647 h 40"/>
                <a:gd name="T6" fmla="*/ 2147483647 w 47"/>
                <a:gd name="T7" fmla="*/ 2147483647 h 40"/>
                <a:gd name="T8" fmla="*/ 2147483647 w 47"/>
                <a:gd name="T9" fmla="*/ 2147483647 h 40"/>
                <a:gd name="T10" fmla="*/ 2147483647 w 47"/>
                <a:gd name="T11" fmla="*/ 2147483647 h 40"/>
                <a:gd name="T12" fmla="*/ 2147483647 w 47"/>
                <a:gd name="T13" fmla="*/ 2147483647 h 40"/>
                <a:gd name="T14" fmla="*/ 2147483647 w 47"/>
                <a:gd name="T15" fmla="*/ 2147483647 h 40"/>
                <a:gd name="T16" fmla="*/ 2147483647 w 47"/>
                <a:gd name="T17" fmla="*/ 2147483647 h 40"/>
                <a:gd name="T18" fmla="*/ 2147483647 w 47"/>
                <a:gd name="T19" fmla="*/ 2147483647 h 40"/>
                <a:gd name="T20" fmla="*/ 2147483647 w 47"/>
                <a:gd name="T21" fmla="*/ 0 h 40"/>
                <a:gd name="T22" fmla="*/ 2147483647 w 47"/>
                <a:gd name="T23" fmla="*/ 0 h 40"/>
                <a:gd name="T24" fmla="*/ 2147483647 w 47"/>
                <a:gd name="T25" fmla="*/ 0 h 40"/>
                <a:gd name="T26" fmla="*/ 2147483647 w 47"/>
                <a:gd name="T27" fmla="*/ 0 h 40"/>
                <a:gd name="T28" fmla="*/ 2147483647 w 47"/>
                <a:gd name="T29" fmla="*/ 2147483647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7"/>
                <a:gd name="T46" fmla="*/ 0 h 40"/>
                <a:gd name="T47" fmla="*/ 47 w 47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802" name="Freeform 287"/>
            <p:cNvSpPr>
              <a:spLocks/>
            </p:cNvSpPr>
            <p:nvPr/>
          </p:nvSpPr>
          <p:spPr bwMode="auto">
            <a:xfrm>
              <a:off x="7096125" y="3319463"/>
              <a:ext cx="17463" cy="15875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2147483647 h 31"/>
                <a:gd name="T16" fmla="*/ 2147483647 w 39"/>
                <a:gd name="T17" fmla="*/ 2147483647 h 31"/>
                <a:gd name="T18" fmla="*/ 2147483647 w 39"/>
                <a:gd name="T19" fmla="*/ 2147483647 h 31"/>
                <a:gd name="T20" fmla="*/ 2147483647 w 39"/>
                <a:gd name="T21" fmla="*/ 2147483647 h 31"/>
                <a:gd name="T22" fmla="*/ 2147483647 w 39"/>
                <a:gd name="T23" fmla="*/ 2147483647 h 31"/>
                <a:gd name="T24" fmla="*/ 2147483647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03" name="Freeform 288"/>
            <p:cNvSpPr>
              <a:spLocks/>
            </p:cNvSpPr>
            <p:nvPr/>
          </p:nvSpPr>
          <p:spPr bwMode="auto">
            <a:xfrm>
              <a:off x="7080250" y="3232150"/>
              <a:ext cx="14288" cy="9525"/>
            </a:xfrm>
            <a:custGeom>
              <a:avLst/>
              <a:gdLst>
                <a:gd name="T0" fmla="*/ 0 w 34"/>
                <a:gd name="T1" fmla="*/ 0 h 19"/>
                <a:gd name="T2" fmla="*/ 2147483647 w 34"/>
                <a:gd name="T3" fmla="*/ 2147483647 h 19"/>
                <a:gd name="T4" fmla="*/ 2147483647 w 34"/>
                <a:gd name="T5" fmla="*/ 0 h 19"/>
                <a:gd name="T6" fmla="*/ 2147483647 w 34"/>
                <a:gd name="T7" fmla="*/ 0 h 19"/>
                <a:gd name="T8" fmla="*/ 2147483647 w 34"/>
                <a:gd name="T9" fmla="*/ 0 h 19"/>
                <a:gd name="T10" fmla="*/ 2147483647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9"/>
                <a:gd name="T23" fmla="*/ 34 w 34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04" name="Freeform 289"/>
            <p:cNvSpPr>
              <a:spLocks/>
            </p:cNvSpPr>
            <p:nvPr/>
          </p:nvSpPr>
          <p:spPr bwMode="auto">
            <a:xfrm>
              <a:off x="7091363" y="3328988"/>
              <a:ext cx="7937" cy="6350"/>
            </a:xfrm>
            <a:custGeom>
              <a:avLst/>
              <a:gdLst>
                <a:gd name="T0" fmla="*/ 0 w 19"/>
                <a:gd name="T1" fmla="*/ 0 h 12"/>
                <a:gd name="T2" fmla="*/ 2147483647 w 19"/>
                <a:gd name="T3" fmla="*/ 2147483647 h 12"/>
                <a:gd name="T4" fmla="*/ 2147483647 w 19"/>
                <a:gd name="T5" fmla="*/ 2147483647 h 12"/>
                <a:gd name="T6" fmla="*/ 2147483647 w 19"/>
                <a:gd name="T7" fmla="*/ 2147483647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8" name="Freeform 290"/>
            <p:cNvSpPr>
              <a:spLocks/>
            </p:cNvSpPr>
            <p:nvPr/>
          </p:nvSpPr>
          <p:spPr bwMode="auto">
            <a:xfrm>
              <a:off x="6936426" y="3291109"/>
              <a:ext cx="55112" cy="86023"/>
            </a:xfrm>
            <a:custGeom>
              <a:avLst/>
              <a:gdLst>
                <a:gd name="T0" fmla="*/ 2147483647 w 126"/>
                <a:gd name="T1" fmla="*/ 0 h 166"/>
                <a:gd name="T2" fmla="*/ 2147483647 w 126"/>
                <a:gd name="T3" fmla="*/ 2147483647 h 166"/>
                <a:gd name="T4" fmla="*/ 2147483647 w 126"/>
                <a:gd name="T5" fmla="*/ 2147483647 h 166"/>
                <a:gd name="T6" fmla="*/ 2147483647 w 126"/>
                <a:gd name="T7" fmla="*/ 2147483647 h 166"/>
                <a:gd name="T8" fmla="*/ 2147483647 w 126"/>
                <a:gd name="T9" fmla="*/ 2147483647 h 166"/>
                <a:gd name="T10" fmla="*/ 2147483647 w 126"/>
                <a:gd name="T11" fmla="*/ 2147483647 h 166"/>
                <a:gd name="T12" fmla="*/ 2147483647 w 126"/>
                <a:gd name="T13" fmla="*/ 2147483647 h 166"/>
                <a:gd name="T14" fmla="*/ 2147483647 w 126"/>
                <a:gd name="T15" fmla="*/ 2147483647 h 166"/>
                <a:gd name="T16" fmla="*/ 2147483647 w 126"/>
                <a:gd name="T17" fmla="*/ 2147483647 h 166"/>
                <a:gd name="T18" fmla="*/ 2147483647 w 126"/>
                <a:gd name="T19" fmla="*/ 2147483647 h 166"/>
                <a:gd name="T20" fmla="*/ 2147483647 w 126"/>
                <a:gd name="T21" fmla="*/ 2147483647 h 166"/>
                <a:gd name="T22" fmla="*/ 2147483647 w 126"/>
                <a:gd name="T23" fmla="*/ 2147483647 h 166"/>
                <a:gd name="T24" fmla="*/ 2147483647 w 126"/>
                <a:gd name="T25" fmla="*/ 2147483647 h 166"/>
                <a:gd name="T26" fmla="*/ 2147483647 w 126"/>
                <a:gd name="T27" fmla="*/ 2147483647 h 166"/>
                <a:gd name="T28" fmla="*/ 2147483647 w 126"/>
                <a:gd name="T29" fmla="*/ 2147483647 h 166"/>
                <a:gd name="T30" fmla="*/ 2147483647 w 126"/>
                <a:gd name="T31" fmla="*/ 2147483647 h 166"/>
                <a:gd name="T32" fmla="*/ 2147483647 w 126"/>
                <a:gd name="T33" fmla="*/ 2147483647 h 166"/>
                <a:gd name="T34" fmla="*/ 2147483647 w 126"/>
                <a:gd name="T35" fmla="*/ 2147483647 h 166"/>
                <a:gd name="T36" fmla="*/ 0 w 126"/>
                <a:gd name="T37" fmla="*/ 2147483647 h 166"/>
                <a:gd name="T38" fmla="*/ 0 w 126"/>
                <a:gd name="T39" fmla="*/ 2147483647 h 166"/>
                <a:gd name="T40" fmla="*/ 0 w 126"/>
                <a:gd name="T41" fmla="*/ 2147483647 h 166"/>
                <a:gd name="T42" fmla="*/ 0 w 126"/>
                <a:gd name="T43" fmla="*/ 2147483647 h 166"/>
                <a:gd name="T44" fmla="*/ 0 w 126"/>
                <a:gd name="T45" fmla="*/ 2147483647 h 166"/>
                <a:gd name="T46" fmla="*/ 0 w 126"/>
                <a:gd name="T47" fmla="*/ 2147483647 h 166"/>
                <a:gd name="T48" fmla="*/ 2147483647 w 126"/>
                <a:gd name="T49" fmla="*/ 2147483647 h 166"/>
                <a:gd name="T50" fmla="*/ 2147483647 w 126"/>
                <a:gd name="T51" fmla="*/ 2147483647 h 166"/>
                <a:gd name="T52" fmla="*/ 2147483647 w 126"/>
                <a:gd name="T53" fmla="*/ 2147483647 h 166"/>
                <a:gd name="T54" fmla="*/ 2147483647 w 126"/>
                <a:gd name="T55" fmla="*/ 2147483647 h 166"/>
                <a:gd name="T56" fmla="*/ 2147483647 w 126"/>
                <a:gd name="T57" fmla="*/ 2147483647 h 166"/>
                <a:gd name="T58" fmla="*/ 2147483647 w 126"/>
                <a:gd name="T59" fmla="*/ 2147483647 h 166"/>
                <a:gd name="T60" fmla="*/ 2147483647 w 126"/>
                <a:gd name="T61" fmla="*/ 2147483647 h 166"/>
                <a:gd name="T62" fmla="*/ 2147483647 w 126"/>
                <a:gd name="T63" fmla="*/ 2147483647 h 166"/>
                <a:gd name="T64" fmla="*/ 2147483647 w 126"/>
                <a:gd name="T65" fmla="*/ 2147483647 h 166"/>
                <a:gd name="T66" fmla="*/ 2147483647 w 126"/>
                <a:gd name="T67" fmla="*/ 2147483647 h 166"/>
                <a:gd name="T68" fmla="*/ 2147483647 w 126"/>
                <a:gd name="T69" fmla="*/ 2147483647 h 166"/>
                <a:gd name="T70" fmla="*/ 2147483647 w 126"/>
                <a:gd name="T71" fmla="*/ 2147483647 h 166"/>
                <a:gd name="T72" fmla="*/ 2147483647 w 126"/>
                <a:gd name="T73" fmla="*/ 2147483647 h 166"/>
                <a:gd name="T74" fmla="*/ 2147483647 w 126"/>
                <a:gd name="T75" fmla="*/ 2147483647 h 166"/>
                <a:gd name="T76" fmla="*/ 2147483647 w 126"/>
                <a:gd name="T77" fmla="*/ 2147483647 h 166"/>
                <a:gd name="T78" fmla="*/ 2147483647 w 126"/>
                <a:gd name="T79" fmla="*/ 2147483647 h 166"/>
                <a:gd name="T80" fmla="*/ 2147483647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6"/>
                <a:gd name="T124" fmla="*/ 0 h 166"/>
                <a:gd name="T125" fmla="*/ 126 w 126"/>
                <a:gd name="T126" fmla="*/ 166 h 1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09" name="Freeform 291"/>
            <p:cNvSpPr>
              <a:spLocks/>
            </p:cNvSpPr>
            <p:nvPr/>
          </p:nvSpPr>
          <p:spPr bwMode="auto">
            <a:xfrm>
              <a:off x="7056060" y="3319336"/>
              <a:ext cx="112912" cy="134412"/>
            </a:xfrm>
            <a:custGeom>
              <a:avLst/>
              <a:gdLst>
                <a:gd name="T0" fmla="*/ 2147483647 w 259"/>
                <a:gd name="T1" fmla="*/ 2147483647 h 259"/>
                <a:gd name="T2" fmla="*/ 0 w 259"/>
                <a:gd name="T3" fmla="*/ 2147483647 h 259"/>
                <a:gd name="T4" fmla="*/ 0 w 259"/>
                <a:gd name="T5" fmla="*/ 2147483647 h 259"/>
                <a:gd name="T6" fmla="*/ 2147483647 w 259"/>
                <a:gd name="T7" fmla="*/ 2147483647 h 259"/>
                <a:gd name="T8" fmla="*/ 2147483647 w 259"/>
                <a:gd name="T9" fmla="*/ 2147483647 h 259"/>
                <a:gd name="T10" fmla="*/ 2147483647 w 259"/>
                <a:gd name="T11" fmla="*/ 2147483647 h 259"/>
                <a:gd name="T12" fmla="*/ 2147483647 w 259"/>
                <a:gd name="T13" fmla="*/ 2147483647 h 259"/>
                <a:gd name="T14" fmla="*/ 2147483647 w 259"/>
                <a:gd name="T15" fmla="*/ 2147483647 h 259"/>
                <a:gd name="T16" fmla="*/ 2147483647 w 259"/>
                <a:gd name="T17" fmla="*/ 2147483647 h 259"/>
                <a:gd name="T18" fmla="*/ 2147483647 w 259"/>
                <a:gd name="T19" fmla="*/ 2147483647 h 259"/>
                <a:gd name="T20" fmla="*/ 2147483647 w 259"/>
                <a:gd name="T21" fmla="*/ 2147483647 h 259"/>
                <a:gd name="T22" fmla="*/ 2147483647 w 259"/>
                <a:gd name="T23" fmla="*/ 2147483647 h 259"/>
                <a:gd name="T24" fmla="*/ 2147483647 w 259"/>
                <a:gd name="T25" fmla="*/ 2147483647 h 259"/>
                <a:gd name="T26" fmla="*/ 2147483647 w 259"/>
                <a:gd name="T27" fmla="*/ 2147483647 h 259"/>
                <a:gd name="T28" fmla="*/ 2147483647 w 259"/>
                <a:gd name="T29" fmla="*/ 2147483647 h 259"/>
                <a:gd name="T30" fmla="*/ 2147483647 w 259"/>
                <a:gd name="T31" fmla="*/ 2147483647 h 259"/>
                <a:gd name="T32" fmla="*/ 2147483647 w 259"/>
                <a:gd name="T33" fmla="*/ 2147483647 h 259"/>
                <a:gd name="T34" fmla="*/ 2147483647 w 259"/>
                <a:gd name="T35" fmla="*/ 2147483647 h 259"/>
                <a:gd name="T36" fmla="*/ 2147483647 w 259"/>
                <a:gd name="T37" fmla="*/ 2147483647 h 259"/>
                <a:gd name="T38" fmla="*/ 2147483647 w 259"/>
                <a:gd name="T39" fmla="*/ 0 h 259"/>
                <a:gd name="T40" fmla="*/ 2147483647 w 259"/>
                <a:gd name="T41" fmla="*/ 2147483647 h 259"/>
                <a:gd name="T42" fmla="*/ 2147483647 w 259"/>
                <a:gd name="T43" fmla="*/ 2147483647 h 259"/>
                <a:gd name="T44" fmla="*/ 2147483647 w 259"/>
                <a:gd name="T45" fmla="*/ 2147483647 h 259"/>
                <a:gd name="T46" fmla="*/ 2147483647 w 259"/>
                <a:gd name="T47" fmla="*/ 2147483647 h 259"/>
                <a:gd name="T48" fmla="*/ 2147483647 w 259"/>
                <a:gd name="T49" fmla="*/ 2147483647 h 259"/>
                <a:gd name="T50" fmla="*/ 2147483647 w 259"/>
                <a:gd name="T51" fmla="*/ 2147483647 h 259"/>
                <a:gd name="T52" fmla="*/ 2147483647 w 259"/>
                <a:gd name="T53" fmla="*/ 2147483647 h 259"/>
                <a:gd name="T54" fmla="*/ 2147483647 w 259"/>
                <a:gd name="T55" fmla="*/ 2147483647 h 259"/>
                <a:gd name="T56" fmla="*/ 2147483647 w 259"/>
                <a:gd name="T57" fmla="*/ 2147483647 h 259"/>
                <a:gd name="T58" fmla="*/ 2147483647 w 259"/>
                <a:gd name="T59" fmla="*/ 2147483647 h 259"/>
                <a:gd name="T60" fmla="*/ 2147483647 w 259"/>
                <a:gd name="T61" fmla="*/ 2147483647 h 259"/>
                <a:gd name="T62" fmla="*/ 2147483647 w 259"/>
                <a:gd name="T63" fmla="*/ 2147483647 h 259"/>
                <a:gd name="T64" fmla="*/ 2147483647 w 259"/>
                <a:gd name="T65" fmla="*/ 2147483647 h 259"/>
                <a:gd name="T66" fmla="*/ 2147483647 w 259"/>
                <a:gd name="T67" fmla="*/ 2147483647 h 259"/>
                <a:gd name="T68" fmla="*/ 2147483647 w 259"/>
                <a:gd name="T69" fmla="*/ 2147483647 h 259"/>
                <a:gd name="T70" fmla="*/ 2147483647 w 259"/>
                <a:gd name="T71" fmla="*/ 2147483647 h 259"/>
                <a:gd name="T72" fmla="*/ 2147483647 w 259"/>
                <a:gd name="T73" fmla="*/ 2147483647 h 259"/>
                <a:gd name="T74" fmla="*/ 2147483647 w 259"/>
                <a:gd name="T75" fmla="*/ 2147483647 h 259"/>
                <a:gd name="T76" fmla="*/ 2147483647 w 259"/>
                <a:gd name="T77" fmla="*/ 2147483647 h 259"/>
                <a:gd name="T78" fmla="*/ 2147483647 w 259"/>
                <a:gd name="T79" fmla="*/ 2147483647 h 259"/>
                <a:gd name="T80" fmla="*/ 2147483647 w 259"/>
                <a:gd name="T81" fmla="*/ 2147483647 h 259"/>
                <a:gd name="T82" fmla="*/ 2147483647 w 259"/>
                <a:gd name="T83" fmla="*/ 2147483647 h 259"/>
                <a:gd name="T84" fmla="*/ 2147483647 w 259"/>
                <a:gd name="T85" fmla="*/ 2147483647 h 259"/>
                <a:gd name="T86" fmla="*/ 2147483647 w 259"/>
                <a:gd name="T87" fmla="*/ 2147483647 h 259"/>
                <a:gd name="T88" fmla="*/ 2147483647 w 259"/>
                <a:gd name="T89" fmla="*/ 2147483647 h 259"/>
                <a:gd name="T90" fmla="*/ 2147483647 w 259"/>
                <a:gd name="T91" fmla="*/ 2147483647 h 259"/>
                <a:gd name="T92" fmla="*/ 2147483647 w 259"/>
                <a:gd name="T93" fmla="*/ 2147483647 h 259"/>
                <a:gd name="T94" fmla="*/ 2147483647 w 259"/>
                <a:gd name="T95" fmla="*/ 2147483647 h 259"/>
                <a:gd name="T96" fmla="*/ 2147483647 w 259"/>
                <a:gd name="T97" fmla="*/ 2147483647 h 259"/>
                <a:gd name="T98" fmla="*/ 2147483647 w 259"/>
                <a:gd name="T99" fmla="*/ 2147483647 h 259"/>
                <a:gd name="T100" fmla="*/ 2147483647 w 259"/>
                <a:gd name="T101" fmla="*/ 2147483647 h 259"/>
                <a:gd name="T102" fmla="*/ 2147483647 w 259"/>
                <a:gd name="T103" fmla="*/ 2147483647 h 259"/>
                <a:gd name="T104" fmla="*/ 2147483647 w 259"/>
                <a:gd name="T105" fmla="*/ 2147483647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59"/>
                <a:gd name="T161" fmla="*/ 259 w 259"/>
                <a:gd name="T162" fmla="*/ 259 h 25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10" name="Freeform 292"/>
            <p:cNvSpPr>
              <a:spLocks/>
            </p:cNvSpPr>
            <p:nvPr/>
          </p:nvSpPr>
          <p:spPr bwMode="auto">
            <a:xfrm>
              <a:off x="6991539" y="3207774"/>
              <a:ext cx="29572" cy="49733"/>
            </a:xfrm>
            <a:custGeom>
              <a:avLst/>
              <a:gdLst>
                <a:gd name="T0" fmla="*/ 2147483647 w 72"/>
                <a:gd name="T1" fmla="*/ 2147483647 h 92"/>
                <a:gd name="T2" fmla="*/ 2147483647 w 72"/>
                <a:gd name="T3" fmla="*/ 2147483647 h 92"/>
                <a:gd name="T4" fmla="*/ 2147483647 w 72"/>
                <a:gd name="T5" fmla="*/ 2147483647 h 92"/>
                <a:gd name="T6" fmla="*/ 2147483647 w 72"/>
                <a:gd name="T7" fmla="*/ 2147483647 h 92"/>
                <a:gd name="T8" fmla="*/ 2147483647 w 72"/>
                <a:gd name="T9" fmla="*/ 2147483647 h 92"/>
                <a:gd name="T10" fmla="*/ 2147483647 w 72"/>
                <a:gd name="T11" fmla="*/ 2147483647 h 92"/>
                <a:gd name="T12" fmla="*/ 2147483647 w 72"/>
                <a:gd name="T13" fmla="*/ 2147483647 h 92"/>
                <a:gd name="T14" fmla="*/ 2147483647 w 72"/>
                <a:gd name="T15" fmla="*/ 2147483647 h 92"/>
                <a:gd name="T16" fmla="*/ 2147483647 w 72"/>
                <a:gd name="T17" fmla="*/ 2147483647 h 92"/>
                <a:gd name="T18" fmla="*/ 2147483647 w 72"/>
                <a:gd name="T19" fmla="*/ 2147483647 h 92"/>
                <a:gd name="T20" fmla="*/ 2147483647 w 72"/>
                <a:gd name="T21" fmla="*/ 2147483647 h 92"/>
                <a:gd name="T22" fmla="*/ 0 w 72"/>
                <a:gd name="T23" fmla="*/ 0 h 92"/>
                <a:gd name="T24" fmla="*/ 2147483647 w 72"/>
                <a:gd name="T25" fmla="*/ 2147483647 h 92"/>
                <a:gd name="T26" fmla="*/ 2147483647 w 72"/>
                <a:gd name="T27" fmla="*/ 2147483647 h 92"/>
                <a:gd name="T28" fmla="*/ 2147483647 w 72"/>
                <a:gd name="T29" fmla="*/ 2147483647 h 92"/>
                <a:gd name="T30" fmla="*/ 2147483647 w 72"/>
                <a:gd name="T31" fmla="*/ 2147483647 h 92"/>
                <a:gd name="T32" fmla="*/ 2147483647 w 72"/>
                <a:gd name="T33" fmla="*/ 2147483647 h 92"/>
                <a:gd name="T34" fmla="*/ 2147483647 w 72"/>
                <a:gd name="T35" fmla="*/ 2147483647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92"/>
                <a:gd name="T56" fmla="*/ 72 w 72"/>
                <a:gd name="T57" fmla="*/ 92 h 9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11" name="Freeform 293"/>
            <p:cNvSpPr>
              <a:spLocks/>
            </p:cNvSpPr>
            <p:nvPr/>
          </p:nvSpPr>
          <p:spPr bwMode="auto">
            <a:xfrm>
              <a:off x="7042618" y="3273636"/>
              <a:ext cx="21507" cy="33602"/>
            </a:xfrm>
            <a:custGeom>
              <a:avLst/>
              <a:gdLst>
                <a:gd name="T0" fmla="*/ 2147483647 w 46"/>
                <a:gd name="T1" fmla="*/ 2147483647 h 62"/>
                <a:gd name="T2" fmla="*/ 2147483647 w 46"/>
                <a:gd name="T3" fmla="*/ 2147483647 h 62"/>
                <a:gd name="T4" fmla="*/ 2147483647 w 46"/>
                <a:gd name="T5" fmla="*/ 0 h 62"/>
                <a:gd name="T6" fmla="*/ 2147483647 w 46"/>
                <a:gd name="T7" fmla="*/ 0 h 62"/>
                <a:gd name="T8" fmla="*/ 2147483647 w 46"/>
                <a:gd name="T9" fmla="*/ 0 h 62"/>
                <a:gd name="T10" fmla="*/ 2147483647 w 46"/>
                <a:gd name="T11" fmla="*/ 2147483647 h 62"/>
                <a:gd name="T12" fmla="*/ 2147483647 w 46"/>
                <a:gd name="T13" fmla="*/ 2147483647 h 62"/>
                <a:gd name="T14" fmla="*/ 2147483647 w 46"/>
                <a:gd name="T15" fmla="*/ 2147483647 h 62"/>
                <a:gd name="T16" fmla="*/ 2147483647 w 46"/>
                <a:gd name="T17" fmla="*/ 2147483647 h 62"/>
                <a:gd name="T18" fmla="*/ 2147483647 w 46"/>
                <a:gd name="T19" fmla="*/ 2147483647 h 62"/>
                <a:gd name="T20" fmla="*/ 2147483647 w 46"/>
                <a:gd name="T21" fmla="*/ 2147483647 h 62"/>
                <a:gd name="T22" fmla="*/ 2147483647 w 46"/>
                <a:gd name="T23" fmla="*/ 2147483647 h 62"/>
                <a:gd name="T24" fmla="*/ 2147483647 w 46"/>
                <a:gd name="T25" fmla="*/ 2147483647 h 62"/>
                <a:gd name="T26" fmla="*/ 2147483647 w 46"/>
                <a:gd name="T27" fmla="*/ 2147483647 h 62"/>
                <a:gd name="T28" fmla="*/ 2147483647 w 46"/>
                <a:gd name="T29" fmla="*/ 2147483647 h 62"/>
                <a:gd name="T30" fmla="*/ 2147483647 w 46"/>
                <a:gd name="T31" fmla="*/ 2147483647 h 62"/>
                <a:gd name="T32" fmla="*/ 2147483647 w 46"/>
                <a:gd name="T33" fmla="*/ 2147483647 h 62"/>
                <a:gd name="T34" fmla="*/ 2147483647 w 46"/>
                <a:gd name="T35" fmla="*/ 2147483647 h 62"/>
                <a:gd name="T36" fmla="*/ 2147483647 w 46"/>
                <a:gd name="T37" fmla="*/ 2147483647 h 62"/>
                <a:gd name="T38" fmla="*/ 2147483647 w 46"/>
                <a:gd name="T39" fmla="*/ 2147483647 h 62"/>
                <a:gd name="T40" fmla="*/ 2147483647 w 46"/>
                <a:gd name="T41" fmla="*/ 2147483647 h 62"/>
                <a:gd name="T42" fmla="*/ 2147483647 w 46"/>
                <a:gd name="T43" fmla="*/ 2147483647 h 62"/>
                <a:gd name="T44" fmla="*/ 0 w 46"/>
                <a:gd name="T45" fmla="*/ 2147483647 h 62"/>
                <a:gd name="T46" fmla="*/ 0 w 46"/>
                <a:gd name="T47" fmla="*/ 2147483647 h 62"/>
                <a:gd name="T48" fmla="*/ 0 w 46"/>
                <a:gd name="T49" fmla="*/ 2147483647 h 62"/>
                <a:gd name="T50" fmla="*/ 0 w 46"/>
                <a:gd name="T51" fmla="*/ 2147483647 h 62"/>
                <a:gd name="T52" fmla="*/ 0 w 46"/>
                <a:gd name="T53" fmla="*/ 2147483647 h 62"/>
                <a:gd name="T54" fmla="*/ 2147483647 w 4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6"/>
                <a:gd name="T85" fmla="*/ 0 h 62"/>
                <a:gd name="T86" fmla="*/ 46 w 4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12" name="Freeform 294"/>
            <p:cNvSpPr>
              <a:spLocks/>
            </p:cNvSpPr>
            <p:nvPr/>
          </p:nvSpPr>
          <p:spPr bwMode="auto">
            <a:xfrm>
              <a:off x="6971375" y="3050512"/>
              <a:ext cx="65866" cy="154573"/>
            </a:xfrm>
            <a:custGeom>
              <a:avLst/>
              <a:gdLst>
                <a:gd name="T0" fmla="*/ 2147483647 w 152"/>
                <a:gd name="T1" fmla="*/ 0 h 296"/>
                <a:gd name="T2" fmla="*/ 2147483647 w 152"/>
                <a:gd name="T3" fmla="*/ 2147483647 h 296"/>
                <a:gd name="T4" fmla="*/ 2147483647 w 152"/>
                <a:gd name="T5" fmla="*/ 2147483647 h 296"/>
                <a:gd name="T6" fmla="*/ 2147483647 w 152"/>
                <a:gd name="T7" fmla="*/ 2147483647 h 296"/>
                <a:gd name="T8" fmla="*/ 2147483647 w 152"/>
                <a:gd name="T9" fmla="*/ 2147483647 h 296"/>
                <a:gd name="T10" fmla="*/ 2147483647 w 152"/>
                <a:gd name="T11" fmla="*/ 2147483647 h 296"/>
                <a:gd name="T12" fmla="*/ 2147483647 w 152"/>
                <a:gd name="T13" fmla="*/ 2147483647 h 296"/>
                <a:gd name="T14" fmla="*/ 2147483647 w 152"/>
                <a:gd name="T15" fmla="*/ 2147483647 h 296"/>
                <a:gd name="T16" fmla="*/ 2147483647 w 152"/>
                <a:gd name="T17" fmla="*/ 2147483647 h 296"/>
                <a:gd name="T18" fmla="*/ 2147483647 w 152"/>
                <a:gd name="T19" fmla="*/ 2147483647 h 296"/>
                <a:gd name="T20" fmla="*/ 2147483647 w 152"/>
                <a:gd name="T21" fmla="*/ 2147483647 h 296"/>
                <a:gd name="T22" fmla="*/ 2147483647 w 152"/>
                <a:gd name="T23" fmla="*/ 2147483647 h 296"/>
                <a:gd name="T24" fmla="*/ 2147483647 w 152"/>
                <a:gd name="T25" fmla="*/ 2147483647 h 296"/>
                <a:gd name="T26" fmla="*/ 2147483647 w 152"/>
                <a:gd name="T27" fmla="*/ 2147483647 h 296"/>
                <a:gd name="T28" fmla="*/ 2147483647 w 152"/>
                <a:gd name="T29" fmla="*/ 2147483647 h 296"/>
                <a:gd name="T30" fmla="*/ 2147483647 w 152"/>
                <a:gd name="T31" fmla="*/ 2147483647 h 296"/>
                <a:gd name="T32" fmla="*/ 2147483647 w 152"/>
                <a:gd name="T33" fmla="*/ 2147483647 h 296"/>
                <a:gd name="T34" fmla="*/ 2147483647 w 152"/>
                <a:gd name="T35" fmla="*/ 2147483647 h 296"/>
                <a:gd name="T36" fmla="*/ 2147483647 w 152"/>
                <a:gd name="T37" fmla="*/ 2147483647 h 296"/>
                <a:gd name="T38" fmla="*/ 2147483647 w 152"/>
                <a:gd name="T39" fmla="*/ 2147483647 h 296"/>
                <a:gd name="T40" fmla="*/ 2147483647 w 152"/>
                <a:gd name="T41" fmla="*/ 2147483647 h 296"/>
                <a:gd name="T42" fmla="*/ 2147483647 w 152"/>
                <a:gd name="T43" fmla="*/ 2147483647 h 296"/>
                <a:gd name="T44" fmla="*/ 2147483647 w 152"/>
                <a:gd name="T45" fmla="*/ 2147483647 h 296"/>
                <a:gd name="T46" fmla="*/ 2147483647 w 152"/>
                <a:gd name="T47" fmla="*/ 2147483647 h 296"/>
                <a:gd name="T48" fmla="*/ 2147483647 w 152"/>
                <a:gd name="T49" fmla="*/ 2147483647 h 296"/>
                <a:gd name="T50" fmla="*/ 2147483647 w 152"/>
                <a:gd name="T51" fmla="*/ 2147483647 h 296"/>
                <a:gd name="T52" fmla="*/ 2147483647 w 152"/>
                <a:gd name="T53" fmla="*/ 2147483647 h 296"/>
                <a:gd name="T54" fmla="*/ 2147483647 w 152"/>
                <a:gd name="T55" fmla="*/ 2147483647 h 296"/>
                <a:gd name="T56" fmla="*/ 2147483647 w 152"/>
                <a:gd name="T57" fmla="*/ 2147483647 h 296"/>
                <a:gd name="T58" fmla="*/ 2147483647 w 152"/>
                <a:gd name="T59" fmla="*/ 2147483647 h 296"/>
                <a:gd name="T60" fmla="*/ 2147483647 w 152"/>
                <a:gd name="T61" fmla="*/ 2147483647 h 296"/>
                <a:gd name="T62" fmla="*/ 2147483647 w 152"/>
                <a:gd name="T63" fmla="*/ 2147483647 h 296"/>
                <a:gd name="T64" fmla="*/ 2147483647 w 152"/>
                <a:gd name="T65" fmla="*/ 2147483647 h 296"/>
                <a:gd name="T66" fmla="*/ 2147483647 w 152"/>
                <a:gd name="T67" fmla="*/ 2147483647 h 296"/>
                <a:gd name="T68" fmla="*/ 2147483647 w 152"/>
                <a:gd name="T69" fmla="*/ 2147483647 h 296"/>
                <a:gd name="T70" fmla="*/ 2147483647 w 152"/>
                <a:gd name="T71" fmla="*/ 2147483647 h 296"/>
                <a:gd name="T72" fmla="*/ 2147483647 w 152"/>
                <a:gd name="T73" fmla="*/ 2147483647 h 296"/>
                <a:gd name="T74" fmla="*/ 0 w 152"/>
                <a:gd name="T75" fmla="*/ 2147483647 h 296"/>
                <a:gd name="T76" fmla="*/ 0 w 152"/>
                <a:gd name="T77" fmla="*/ 2147483647 h 296"/>
                <a:gd name="T78" fmla="*/ 0 w 152"/>
                <a:gd name="T79" fmla="*/ 2147483647 h 296"/>
                <a:gd name="T80" fmla="*/ 2147483647 w 152"/>
                <a:gd name="T81" fmla="*/ 2147483647 h 296"/>
                <a:gd name="T82" fmla="*/ 2147483647 w 152"/>
                <a:gd name="T83" fmla="*/ 2147483647 h 296"/>
                <a:gd name="T84" fmla="*/ 2147483647 w 152"/>
                <a:gd name="T85" fmla="*/ 2147483647 h 296"/>
                <a:gd name="T86" fmla="*/ 2147483647 w 152"/>
                <a:gd name="T87" fmla="*/ 0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2"/>
                <a:gd name="T133" fmla="*/ 0 h 296"/>
                <a:gd name="T134" fmla="*/ 152 w 152"/>
                <a:gd name="T135" fmla="*/ 296 h 29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810" name="Freeform 295"/>
            <p:cNvSpPr>
              <a:spLocks/>
            </p:cNvSpPr>
            <p:nvPr/>
          </p:nvSpPr>
          <p:spPr bwMode="auto">
            <a:xfrm>
              <a:off x="7102475" y="3282950"/>
              <a:ext cx="11113" cy="20638"/>
            </a:xfrm>
            <a:custGeom>
              <a:avLst/>
              <a:gdLst>
                <a:gd name="T0" fmla="*/ 2147483647 w 26"/>
                <a:gd name="T1" fmla="*/ 2147483647 h 38"/>
                <a:gd name="T2" fmla="*/ 2147483647 w 26"/>
                <a:gd name="T3" fmla="*/ 0 h 38"/>
                <a:gd name="T4" fmla="*/ 2147483647 w 26"/>
                <a:gd name="T5" fmla="*/ 0 h 38"/>
                <a:gd name="T6" fmla="*/ 2147483647 w 26"/>
                <a:gd name="T7" fmla="*/ 0 h 38"/>
                <a:gd name="T8" fmla="*/ 2147483647 w 26"/>
                <a:gd name="T9" fmla="*/ 2147483647 h 38"/>
                <a:gd name="T10" fmla="*/ 0 w 26"/>
                <a:gd name="T11" fmla="*/ 2147483647 h 38"/>
                <a:gd name="T12" fmla="*/ 2147483647 w 26"/>
                <a:gd name="T13" fmla="*/ 2147483647 h 38"/>
                <a:gd name="T14" fmla="*/ 2147483647 w 26"/>
                <a:gd name="T15" fmla="*/ 2147483647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38"/>
                <a:gd name="T26" fmla="*/ 26 w 26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1" name="Freeform 296"/>
            <p:cNvSpPr>
              <a:spLocks/>
            </p:cNvSpPr>
            <p:nvPr/>
          </p:nvSpPr>
          <p:spPr bwMode="auto">
            <a:xfrm>
              <a:off x="7072313" y="3248025"/>
              <a:ext cx="12700" cy="15875"/>
            </a:xfrm>
            <a:custGeom>
              <a:avLst/>
              <a:gdLst>
                <a:gd name="T0" fmla="*/ 0 w 34"/>
                <a:gd name="T1" fmla="*/ 2147483647 h 31"/>
                <a:gd name="T2" fmla="*/ 2147483647 w 34"/>
                <a:gd name="T3" fmla="*/ 2147483647 h 31"/>
                <a:gd name="T4" fmla="*/ 2147483647 w 34"/>
                <a:gd name="T5" fmla="*/ 2147483647 h 31"/>
                <a:gd name="T6" fmla="*/ 2147483647 w 34"/>
                <a:gd name="T7" fmla="*/ 2147483647 h 31"/>
                <a:gd name="T8" fmla="*/ 2147483647 w 34"/>
                <a:gd name="T9" fmla="*/ 2147483647 h 31"/>
                <a:gd name="T10" fmla="*/ 2147483647 w 34"/>
                <a:gd name="T11" fmla="*/ 2147483647 h 31"/>
                <a:gd name="T12" fmla="*/ 2147483647 w 34"/>
                <a:gd name="T13" fmla="*/ 2147483647 h 31"/>
                <a:gd name="T14" fmla="*/ 2147483647 w 34"/>
                <a:gd name="T15" fmla="*/ 2147483647 h 31"/>
                <a:gd name="T16" fmla="*/ 2147483647 w 34"/>
                <a:gd name="T17" fmla="*/ 0 h 31"/>
                <a:gd name="T18" fmla="*/ 2147483647 w 34"/>
                <a:gd name="T19" fmla="*/ 2147483647 h 31"/>
                <a:gd name="T20" fmla="*/ 2147483647 w 34"/>
                <a:gd name="T21" fmla="*/ 2147483647 h 31"/>
                <a:gd name="T22" fmla="*/ 2147483647 w 34"/>
                <a:gd name="T23" fmla="*/ 2147483647 h 31"/>
                <a:gd name="T24" fmla="*/ 2147483647 w 34"/>
                <a:gd name="T25" fmla="*/ 2147483647 h 31"/>
                <a:gd name="T26" fmla="*/ 0 w 34"/>
                <a:gd name="T27" fmla="*/ 2147483647 h 31"/>
                <a:gd name="T28" fmla="*/ 0 w 34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"/>
                <a:gd name="T46" fmla="*/ 0 h 31"/>
                <a:gd name="T47" fmla="*/ 34 w 34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2" name="Freeform 297"/>
            <p:cNvSpPr>
              <a:spLocks/>
            </p:cNvSpPr>
            <p:nvPr/>
          </p:nvSpPr>
          <p:spPr bwMode="auto">
            <a:xfrm>
              <a:off x="7037388" y="3244850"/>
              <a:ext cx="7937" cy="19050"/>
            </a:xfrm>
            <a:custGeom>
              <a:avLst/>
              <a:gdLst>
                <a:gd name="T0" fmla="*/ 0 w 20"/>
                <a:gd name="T1" fmla="*/ 2147483647 h 37"/>
                <a:gd name="T2" fmla="*/ 0 w 20"/>
                <a:gd name="T3" fmla="*/ 2147483647 h 37"/>
                <a:gd name="T4" fmla="*/ 2147483647 w 20"/>
                <a:gd name="T5" fmla="*/ 2147483647 h 37"/>
                <a:gd name="T6" fmla="*/ 2147483647 w 20"/>
                <a:gd name="T7" fmla="*/ 2147483647 h 37"/>
                <a:gd name="T8" fmla="*/ 2147483647 w 20"/>
                <a:gd name="T9" fmla="*/ 0 h 37"/>
                <a:gd name="T10" fmla="*/ 0 w 20"/>
                <a:gd name="T11" fmla="*/ 2147483647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37"/>
                <a:gd name="T20" fmla="*/ 20 w 20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3" name="Line 298"/>
            <p:cNvSpPr>
              <a:spLocks noChangeShapeType="1"/>
            </p:cNvSpPr>
            <p:nvPr/>
          </p:nvSpPr>
          <p:spPr bwMode="auto">
            <a:xfrm>
              <a:off x="7091363" y="3294063"/>
              <a:ext cx="1587" cy="158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14" name="Freeform 299"/>
            <p:cNvSpPr>
              <a:spLocks/>
            </p:cNvSpPr>
            <p:nvPr/>
          </p:nvSpPr>
          <p:spPr bwMode="auto">
            <a:xfrm>
              <a:off x="7091363" y="3300413"/>
              <a:ext cx="4762" cy="9525"/>
            </a:xfrm>
            <a:custGeom>
              <a:avLst/>
              <a:gdLst>
                <a:gd name="T0" fmla="*/ 0 w 13"/>
                <a:gd name="T1" fmla="*/ 2147483647 h 18"/>
                <a:gd name="T2" fmla="*/ 0 w 13"/>
                <a:gd name="T3" fmla="*/ 2147483647 h 18"/>
                <a:gd name="T4" fmla="*/ 0 w 13"/>
                <a:gd name="T5" fmla="*/ 2147483647 h 18"/>
                <a:gd name="T6" fmla="*/ 2147483647 w 13"/>
                <a:gd name="T7" fmla="*/ 0 h 18"/>
                <a:gd name="T8" fmla="*/ 2147483647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8"/>
                <a:gd name="T17" fmla="*/ 13 w 13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5" name="Line 300"/>
            <p:cNvSpPr>
              <a:spLocks noChangeShapeType="1"/>
            </p:cNvSpPr>
            <p:nvPr/>
          </p:nvSpPr>
          <p:spPr bwMode="auto">
            <a:xfrm flipH="1" flipV="1">
              <a:off x="7088188" y="3290888"/>
              <a:ext cx="7937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16" name="Freeform 303"/>
            <p:cNvSpPr>
              <a:spLocks/>
            </p:cNvSpPr>
            <p:nvPr/>
          </p:nvSpPr>
          <p:spPr bwMode="auto">
            <a:xfrm>
              <a:off x="7021513" y="3463925"/>
              <a:ext cx="15875" cy="7938"/>
            </a:xfrm>
            <a:custGeom>
              <a:avLst/>
              <a:gdLst>
                <a:gd name="T0" fmla="*/ 0 w 34"/>
                <a:gd name="T1" fmla="*/ 2147483647 h 13"/>
                <a:gd name="T2" fmla="*/ 2147483647 w 34"/>
                <a:gd name="T3" fmla="*/ 2147483647 h 13"/>
                <a:gd name="T4" fmla="*/ 2147483647 w 34"/>
                <a:gd name="T5" fmla="*/ 2147483647 h 13"/>
                <a:gd name="T6" fmla="*/ 2147483647 w 34"/>
                <a:gd name="T7" fmla="*/ 2147483647 h 13"/>
                <a:gd name="T8" fmla="*/ 2147483647 w 34"/>
                <a:gd name="T9" fmla="*/ 2147483647 h 13"/>
                <a:gd name="T10" fmla="*/ 2147483647 w 34"/>
                <a:gd name="T11" fmla="*/ 0 h 13"/>
                <a:gd name="T12" fmla="*/ 2147483647 w 34"/>
                <a:gd name="T13" fmla="*/ 0 h 13"/>
                <a:gd name="T14" fmla="*/ 2147483647 w 34"/>
                <a:gd name="T15" fmla="*/ 0 h 13"/>
                <a:gd name="T16" fmla="*/ 2147483647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13"/>
                <a:gd name="T29" fmla="*/ 34 w 3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7" name="Freeform 304"/>
            <p:cNvSpPr>
              <a:spLocks/>
            </p:cNvSpPr>
            <p:nvPr/>
          </p:nvSpPr>
          <p:spPr bwMode="auto">
            <a:xfrm>
              <a:off x="7021513" y="3448050"/>
              <a:ext cx="15875" cy="9525"/>
            </a:xfrm>
            <a:custGeom>
              <a:avLst/>
              <a:gdLst>
                <a:gd name="T0" fmla="*/ 2147483647 w 34"/>
                <a:gd name="T1" fmla="*/ 2147483647 h 18"/>
                <a:gd name="T2" fmla="*/ 2147483647 w 34"/>
                <a:gd name="T3" fmla="*/ 0 h 18"/>
                <a:gd name="T4" fmla="*/ 2147483647 w 34"/>
                <a:gd name="T5" fmla="*/ 0 h 18"/>
                <a:gd name="T6" fmla="*/ 2147483647 w 34"/>
                <a:gd name="T7" fmla="*/ 0 h 18"/>
                <a:gd name="T8" fmla="*/ 2147483647 w 34"/>
                <a:gd name="T9" fmla="*/ 0 h 18"/>
                <a:gd name="T10" fmla="*/ 0 w 34"/>
                <a:gd name="T11" fmla="*/ 0 h 18"/>
                <a:gd name="T12" fmla="*/ 2147483647 w 34"/>
                <a:gd name="T13" fmla="*/ 2147483647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8"/>
                <a:gd name="T23" fmla="*/ 34 w 34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1" name="Freeform 305"/>
            <p:cNvSpPr>
              <a:spLocks/>
            </p:cNvSpPr>
            <p:nvPr/>
          </p:nvSpPr>
          <p:spPr bwMode="auto">
            <a:xfrm>
              <a:off x="7039930" y="3429553"/>
              <a:ext cx="25539" cy="12097"/>
            </a:xfrm>
            <a:custGeom>
              <a:avLst/>
              <a:gdLst>
                <a:gd name="T0" fmla="*/ 2147483647 w 59"/>
                <a:gd name="T1" fmla="*/ 2147483647 h 25"/>
                <a:gd name="T2" fmla="*/ 2147483647 w 59"/>
                <a:gd name="T3" fmla="*/ 2147483647 h 25"/>
                <a:gd name="T4" fmla="*/ 2147483647 w 59"/>
                <a:gd name="T5" fmla="*/ 0 h 25"/>
                <a:gd name="T6" fmla="*/ 2147483647 w 59"/>
                <a:gd name="T7" fmla="*/ 0 h 25"/>
                <a:gd name="T8" fmla="*/ 2147483647 w 59"/>
                <a:gd name="T9" fmla="*/ 0 h 25"/>
                <a:gd name="T10" fmla="*/ 2147483647 w 59"/>
                <a:gd name="T11" fmla="*/ 0 h 25"/>
                <a:gd name="T12" fmla="*/ 2147483647 w 59"/>
                <a:gd name="T13" fmla="*/ 0 h 25"/>
                <a:gd name="T14" fmla="*/ 2147483647 w 59"/>
                <a:gd name="T15" fmla="*/ 0 h 25"/>
                <a:gd name="T16" fmla="*/ 0 w 59"/>
                <a:gd name="T17" fmla="*/ 2147483647 h 25"/>
                <a:gd name="T18" fmla="*/ 2147483647 w 59"/>
                <a:gd name="T19" fmla="*/ 2147483647 h 25"/>
                <a:gd name="T20" fmla="*/ 2147483647 w 59"/>
                <a:gd name="T21" fmla="*/ 2147483647 h 25"/>
                <a:gd name="T22" fmla="*/ 2147483647 w 59"/>
                <a:gd name="T23" fmla="*/ 2147483647 h 25"/>
                <a:gd name="T24" fmla="*/ 2147483647 w 59"/>
                <a:gd name="T25" fmla="*/ 2147483647 h 25"/>
                <a:gd name="T26" fmla="*/ 2147483647 w 59"/>
                <a:gd name="T27" fmla="*/ 2147483647 h 25"/>
                <a:gd name="T28" fmla="*/ 2147483647 w 59"/>
                <a:gd name="T29" fmla="*/ 2147483647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25"/>
                <a:gd name="T47" fmla="*/ 59 w 59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819" name="Line 306"/>
            <p:cNvSpPr>
              <a:spLocks noChangeShapeType="1"/>
            </p:cNvSpPr>
            <p:nvPr/>
          </p:nvSpPr>
          <p:spPr bwMode="auto">
            <a:xfrm flipV="1">
              <a:off x="7105650" y="3398838"/>
              <a:ext cx="7938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20" name="Freeform 336"/>
            <p:cNvSpPr>
              <a:spLocks/>
            </p:cNvSpPr>
            <p:nvPr>
              <p:custDataLst>
                <p:tags r:id="rId400"/>
              </p:custDataLst>
            </p:nvPr>
          </p:nvSpPr>
          <p:spPr bwMode="auto">
            <a:xfrm>
              <a:off x="8270875" y="4221163"/>
              <a:ext cx="46038" cy="46037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65B63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21" name="Freeform 251"/>
            <p:cNvSpPr>
              <a:spLocks/>
            </p:cNvSpPr>
            <p:nvPr>
              <p:custDataLst>
                <p:tags r:id="rId401"/>
              </p:custDataLst>
            </p:nvPr>
          </p:nvSpPr>
          <p:spPr bwMode="auto">
            <a:xfrm>
              <a:off x="4759925" y="3998297"/>
              <a:ext cx="260350" cy="520700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22" name="Freeform 262"/>
            <p:cNvSpPr>
              <a:spLocks/>
            </p:cNvSpPr>
            <p:nvPr>
              <p:custDataLst>
                <p:tags r:id="rId402"/>
              </p:custDataLst>
            </p:nvPr>
          </p:nvSpPr>
          <p:spPr bwMode="auto">
            <a:xfrm>
              <a:off x="6270862" y="2758839"/>
              <a:ext cx="220448" cy="586035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8275638" y="3578225"/>
            <a:ext cx="904875" cy="5540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200"/>
              </a:lnSpc>
              <a:defRPr/>
            </a:pPr>
            <a:r>
              <a:rPr lang="en-US" altLang="en-US" sz="18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Pacific Region</a:t>
            </a:r>
          </a:p>
          <a:p>
            <a:pPr eaLnBrk="1" hangingPunct="1">
              <a:lnSpc>
                <a:spcPts val="1200"/>
              </a:lnSpc>
              <a:defRPr/>
            </a:pPr>
            <a:r>
              <a:rPr lang="en-US" altLang="en-US" sz="11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</a:t>
            </a:r>
            <a:endParaRPr lang="en-GB" altLang="en-US" sz="1100" b="1" smtClean="0">
              <a:solidFill>
                <a:srgbClr val="149C48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1" name="TextBox 610"/>
          <p:cNvSpPr txBox="1"/>
          <p:nvPr/>
        </p:nvSpPr>
        <p:spPr>
          <a:xfrm>
            <a:off x="260350" y="3400425"/>
            <a:ext cx="1235075" cy="347663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El Salvador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dirty="0" err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HfH</a:t>
            </a:r>
            <a:r>
              <a:rPr lang="en-US" altLang="en-US" sz="1100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/IFRC</a:t>
            </a:r>
            <a:endParaRPr lang="en-GB" altLang="en-US" sz="1100" dirty="0" smtClean="0">
              <a:solidFill>
                <a:srgbClr val="149C48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2" name="TextBox 611"/>
          <p:cNvSpPr txBox="1"/>
          <p:nvPr/>
        </p:nvSpPr>
        <p:spPr>
          <a:xfrm>
            <a:off x="2686628" y="2834490"/>
            <a:ext cx="1027112" cy="322263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Mali</a:t>
            </a:r>
          </a:p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/IOM</a:t>
            </a:r>
            <a:endParaRPr lang="en-GB" alt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3" name="TextBox 612"/>
          <p:cNvSpPr txBox="1"/>
          <p:nvPr/>
        </p:nvSpPr>
        <p:spPr>
          <a:xfrm>
            <a:off x="4265613" y="2736850"/>
            <a:ext cx="1027112" cy="33178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udan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8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4" name="TextBox 613"/>
          <p:cNvSpPr txBox="1"/>
          <p:nvPr/>
        </p:nvSpPr>
        <p:spPr>
          <a:xfrm>
            <a:off x="3289112" y="4156075"/>
            <a:ext cx="106381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DRC</a:t>
            </a:r>
          </a:p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100" b="1" dirty="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</a:t>
            </a:r>
            <a:r>
              <a:rPr lang="en-US" alt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ICEF/CRS</a:t>
            </a:r>
            <a:endParaRPr lang="en-GB" alt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7" name="TextBox 616"/>
          <p:cNvSpPr txBox="1"/>
          <p:nvPr/>
        </p:nvSpPr>
        <p:spPr>
          <a:xfrm>
            <a:off x="3236913" y="3827463"/>
            <a:ext cx="1058862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AR</a:t>
            </a:r>
          </a:p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/ACTED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20" name="TextBox 619"/>
          <p:cNvSpPr txBox="1"/>
          <p:nvPr/>
        </p:nvSpPr>
        <p:spPr>
          <a:xfrm>
            <a:off x="2290879" y="3262774"/>
            <a:ext cx="1417638" cy="2968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750"/>
              </a:lnSpc>
              <a:defRPr/>
            </a:pPr>
            <a:r>
              <a:rPr lang="en-US" altLang="en-US" sz="8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outh Sudan</a:t>
            </a:r>
          </a:p>
          <a:p>
            <a:pPr eaLnBrk="1" hangingPunct="1">
              <a:lnSpc>
                <a:spcPts val="750"/>
              </a:lnSpc>
              <a:defRPr/>
            </a:pPr>
            <a:r>
              <a:rPr lang="en-US" alt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IOM/World Vision</a:t>
            </a:r>
          </a:p>
        </p:txBody>
      </p:sp>
      <p:sp>
        <p:nvSpPr>
          <p:cNvPr id="621" name="TextBox 620"/>
          <p:cNvSpPr txBox="1"/>
          <p:nvPr/>
        </p:nvSpPr>
        <p:spPr>
          <a:xfrm>
            <a:off x="5076825" y="3805238"/>
            <a:ext cx="1027113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Somalia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6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</a:p>
        </p:txBody>
      </p:sp>
      <p:sp>
        <p:nvSpPr>
          <p:cNvPr id="622" name="TextBox 621"/>
          <p:cNvSpPr txBox="1"/>
          <p:nvPr/>
        </p:nvSpPr>
        <p:spPr>
          <a:xfrm>
            <a:off x="5364163" y="3141663"/>
            <a:ext cx="946150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Yemen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  <a:endParaRPr lang="en-US" altLang="en-US" sz="18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24" name="TextBox 623"/>
          <p:cNvSpPr txBox="1"/>
          <p:nvPr/>
        </p:nvSpPr>
        <p:spPr>
          <a:xfrm>
            <a:off x="5672138" y="2052638"/>
            <a:ext cx="1509712" cy="35401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Afghanistan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/IOM</a:t>
            </a:r>
          </a:p>
        </p:txBody>
      </p:sp>
      <p:sp>
        <p:nvSpPr>
          <p:cNvPr id="627" name="TextBox 626"/>
          <p:cNvSpPr txBox="1"/>
          <p:nvPr/>
        </p:nvSpPr>
        <p:spPr>
          <a:xfrm>
            <a:off x="6196013" y="2503488"/>
            <a:ext cx="1027112" cy="3476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Nepal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IFRC</a:t>
            </a:r>
          </a:p>
        </p:txBody>
      </p:sp>
      <p:sp>
        <p:nvSpPr>
          <p:cNvPr id="628" name="TextBox 627"/>
          <p:cNvSpPr txBox="1"/>
          <p:nvPr/>
        </p:nvSpPr>
        <p:spPr>
          <a:xfrm>
            <a:off x="6927850" y="2836863"/>
            <a:ext cx="1406525" cy="35401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Bangladesh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/UNDP</a:t>
            </a:r>
          </a:p>
        </p:txBody>
      </p:sp>
      <p:sp>
        <p:nvSpPr>
          <p:cNvPr id="629" name="TextBox 628"/>
          <p:cNvSpPr txBox="1"/>
          <p:nvPr/>
        </p:nvSpPr>
        <p:spPr>
          <a:xfrm>
            <a:off x="6334125" y="3513138"/>
            <a:ext cx="1177925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Myanmar</a:t>
            </a:r>
          </a:p>
          <a:p>
            <a:pPr algn="ctr"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</a:p>
        </p:txBody>
      </p:sp>
      <p:sp>
        <p:nvSpPr>
          <p:cNvPr id="632" name="TextBox 631"/>
          <p:cNvSpPr txBox="1"/>
          <p:nvPr/>
        </p:nvSpPr>
        <p:spPr>
          <a:xfrm>
            <a:off x="8282999" y="4600735"/>
            <a:ext cx="901700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Fiji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</a:t>
            </a:r>
          </a:p>
        </p:txBody>
      </p:sp>
      <p:sp>
        <p:nvSpPr>
          <p:cNvPr id="633" name="TextBox 632"/>
          <p:cNvSpPr txBox="1"/>
          <p:nvPr/>
        </p:nvSpPr>
        <p:spPr>
          <a:xfrm>
            <a:off x="4806950" y="4835525"/>
            <a:ext cx="1455738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Mozambique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/UNHABITAT</a:t>
            </a:r>
          </a:p>
        </p:txBody>
      </p:sp>
      <p:sp>
        <p:nvSpPr>
          <p:cNvPr id="635" name="TextBox 634"/>
          <p:cNvSpPr txBox="1"/>
          <p:nvPr/>
        </p:nvSpPr>
        <p:spPr>
          <a:xfrm>
            <a:off x="3689350" y="2349500"/>
            <a:ext cx="1243013" cy="322263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Palestine</a:t>
            </a:r>
          </a:p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NRC/ACTED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36" name="TextBox 635"/>
          <p:cNvSpPr txBox="1"/>
          <p:nvPr/>
        </p:nvSpPr>
        <p:spPr>
          <a:xfrm>
            <a:off x="4765675" y="2233613"/>
            <a:ext cx="984250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yria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UNHCR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41" name="TextBox 640"/>
          <p:cNvSpPr txBox="1"/>
          <p:nvPr/>
        </p:nvSpPr>
        <p:spPr>
          <a:xfrm>
            <a:off x="4910138" y="4078288"/>
            <a:ext cx="989012" cy="42068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750"/>
              </a:lnSpc>
              <a:defRPr/>
            </a:pPr>
            <a:r>
              <a:rPr lang="en-US" altLang="en-US" sz="1600" b="1" dirty="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Kenya</a:t>
            </a:r>
          </a:p>
          <a:p>
            <a:pPr eaLnBrk="1" hangingPunct="1">
              <a:lnSpc>
                <a:spcPts val="750"/>
              </a:lnSpc>
              <a:defRPr/>
            </a:pPr>
            <a:r>
              <a:rPr lang="en-US" altLang="en-US" sz="1100" b="1" dirty="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</a:t>
            </a:r>
            <a:r>
              <a:rPr lang="en-US" altLang="en-US" sz="1100" dirty="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OM / KRCS</a:t>
            </a:r>
          </a:p>
          <a:p>
            <a:pPr eaLnBrk="1" hangingPunct="1">
              <a:defRPr/>
            </a:pPr>
            <a:endParaRPr lang="en-GB" altLang="en-US" sz="800" b="1" dirty="0" smtClean="0">
              <a:solidFill>
                <a:srgbClr val="994345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42" name="TextBox 641"/>
          <p:cNvSpPr txBox="1"/>
          <p:nvPr/>
        </p:nvSpPr>
        <p:spPr>
          <a:xfrm>
            <a:off x="5311775" y="3494088"/>
            <a:ext cx="1084263" cy="4778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8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Ethiopia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80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OM</a:t>
            </a:r>
          </a:p>
          <a:p>
            <a:pPr eaLnBrk="1" hangingPunct="1">
              <a:lnSpc>
                <a:spcPts val="1000"/>
              </a:lnSpc>
              <a:defRPr/>
            </a:pPr>
            <a:endParaRPr lang="en-GB" altLang="en-US" sz="1800" b="1" smtClean="0">
              <a:solidFill>
                <a:srgbClr val="994345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5387" name="Group 4"/>
          <p:cNvGrpSpPr>
            <a:grpSpLocks/>
          </p:cNvGrpSpPr>
          <p:nvPr/>
        </p:nvGrpSpPr>
        <p:grpSpPr bwMode="auto">
          <a:xfrm>
            <a:off x="7275513" y="6016625"/>
            <a:ext cx="1808162" cy="488950"/>
            <a:chOff x="3837853" y="5986947"/>
            <a:chExt cx="1808604" cy="489630"/>
          </a:xfrm>
        </p:grpSpPr>
        <p:sp>
          <p:nvSpPr>
            <p:cNvPr id="650" name="TextBox 649"/>
            <p:cNvSpPr txBox="1"/>
            <p:nvPr/>
          </p:nvSpPr>
          <p:spPr>
            <a:xfrm>
              <a:off x="3837853" y="5986947"/>
              <a:ext cx="1808604" cy="249585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lnSpc>
                  <a:spcPts val="1000"/>
                </a:lnSpc>
                <a:defRPr/>
              </a:pPr>
              <a:r>
                <a:rPr lang="fr-CH" altLang="en-US" sz="1800" b="1" smtClean="0">
                  <a:solidFill>
                    <a:srgbClr val="149C48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Natural </a:t>
              </a:r>
              <a:r>
                <a:rPr lang="en-GB" altLang="en-US" sz="1800" b="1" smtClean="0">
                  <a:solidFill>
                    <a:srgbClr val="149C48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disasters</a:t>
              </a:r>
            </a:p>
          </p:txBody>
        </p:sp>
        <p:sp>
          <p:nvSpPr>
            <p:cNvPr id="652" name="TextBox 651"/>
            <p:cNvSpPr txBox="1"/>
            <p:nvPr/>
          </p:nvSpPr>
          <p:spPr>
            <a:xfrm>
              <a:off x="3947417" y="6226993"/>
              <a:ext cx="1691101" cy="249584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r" eaLnBrk="1" hangingPunct="1">
                <a:lnSpc>
                  <a:spcPts val="1000"/>
                </a:lnSpc>
                <a:defRPr/>
              </a:pPr>
              <a:r>
                <a:rPr lang="en-US" altLang="en-US" sz="1800" b="1" smtClean="0">
                  <a:solidFill>
                    <a:srgbClr val="994345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Both</a:t>
              </a:r>
              <a:endParaRPr lang="en-GB" altLang="en-US" sz="18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</p:grpSp>
      <p:sp>
        <p:nvSpPr>
          <p:cNvPr id="655" name="TextBox 654"/>
          <p:cNvSpPr txBox="1"/>
          <p:nvPr/>
        </p:nvSpPr>
        <p:spPr>
          <a:xfrm>
            <a:off x="7345363" y="5805488"/>
            <a:ext cx="1701800" cy="2492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10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onflict</a:t>
            </a:r>
            <a:endParaRPr lang="en-GB" altLang="en-US" sz="1800" b="1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5389" name="Title 1"/>
          <p:cNvSpPr txBox="1">
            <a:spLocks/>
          </p:cNvSpPr>
          <p:nvPr/>
        </p:nvSpPr>
        <p:spPr bwMode="auto">
          <a:xfrm>
            <a:off x="795338" y="585980"/>
            <a:ext cx="822960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3200" b="1" dirty="0" smtClean="0">
                <a:solidFill>
                  <a:srgbClr val="04314C"/>
                </a:solidFill>
                <a:latin typeface="Verdana" panose="020B0604030504040204" pitchFamily="34" charset="0"/>
              </a:rPr>
              <a:t>26 </a:t>
            </a:r>
            <a:r>
              <a:rPr lang="en-US" altLang="en-US" sz="3200" b="1" dirty="0">
                <a:solidFill>
                  <a:srgbClr val="04314C"/>
                </a:solidFill>
                <a:latin typeface="Verdana" panose="020B0604030504040204" pitchFamily="34" charset="0"/>
              </a:rPr>
              <a:t>Shelter Clusters or cluster-like</a:t>
            </a:r>
            <a:endParaRPr lang="en-GB" altLang="en-US" sz="3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625" name="TextBox 624"/>
          <p:cNvSpPr txBox="1"/>
          <p:nvPr/>
        </p:nvSpPr>
        <p:spPr>
          <a:xfrm>
            <a:off x="4932363" y="2852738"/>
            <a:ext cx="946150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raq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  <a:endParaRPr lang="en-US" altLang="en-US" sz="18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26" name="TextBox 625"/>
          <p:cNvSpPr txBox="1"/>
          <p:nvPr/>
        </p:nvSpPr>
        <p:spPr>
          <a:xfrm>
            <a:off x="3527657" y="2690237"/>
            <a:ext cx="1027112" cy="33178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had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8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/IOM</a:t>
            </a:r>
            <a:endParaRPr lang="en-GB" alt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30" name="TextBox 629"/>
          <p:cNvSpPr txBox="1"/>
          <p:nvPr/>
        </p:nvSpPr>
        <p:spPr>
          <a:xfrm>
            <a:off x="4587875" y="1681163"/>
            <a:ext cx="984250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kraine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UNHCR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31" name="TextBox 630"/>
          <p:cNvSpPr txBox="1"/>
          <p:nvPr/>
        </p:nvSpPr>
        <p:spPr>
          <a:xfrm>
            <a:off x="4568825" y="5180013"/>
            <a:ext cx="900113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Malawi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</a:t>
            </a:r>
          </a:p>
        </p:txBody>
      </p:sp>
      <p:sp>
        <p:nvSpPr>
          <p:cNvPr id="637" name="TextBox 636"/>
          <p:cNvSpPr txBox="1"/>
          <p:nvPr/>
        </p:nvSpPr>
        <p:spPr>
          <a:xfrm>
            <a:off x="2413460" y="3604276"/>
            <a:ext cx="1417638" cy="29751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750"/>
              </a:lnSpc>
              <a:defRPr/>
            </a:pPr>
            <a:r>
              <a:rPr lang="en-US" altLang="en-US" sz="8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Nigeria</a:t>
            </a:r>
          </a:p>
          <a:p>
            <a:pPr eaLnBrk="1" hangingPunct="1">
              <a:lnSpc>
                <a:spcPts val="750"/>
              </a:lnSpc>
              <a:defRPr/>
            </a:pPr>
            <a:r>
              <a:rPr lang="en-US" alt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NEMA/IOM/UNHCR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584084" y="3920055"/>
            <a:ext cx="979076" cy="34881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Ecuador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</a:t>
            </a:r>
            <a:endParaRPr lang="en-GB" altLang="en-US" sz="1100" dirty="0" smtClean="0">
              <a:solidFill>
                <a:srgbClr val="149C48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4132462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4</a:t>
            </a:fld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2671986"/>
            <a:ext cx="5895975" cy="12763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119208"/>
            <a:ext cx="2009775" cy="13335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7279" y="614180"/>
            <a:ext cx="3257550" cy="16192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512" y="4797152"/>
            <a:ext cx="1685925" cy="12668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7267" y="604646"/>
            <a:ext cx="3505200" cy="6029325"/>
          </a:xfrm>
          <a:prstGeom prst="rect">
            <a:avLst/>
          </a:prstGeom>
        </p:spPr>
      </p:pic>
      <p:sp>
        <p:nvSpPr>
          <p:cNvPr id="15" name="Freeform 14"/>
          <p:cNvSpPr/>
          <p:nvPr/>
        </p:nvSpPr>
        <p:spPr>
          <a:xfrm>
            <a:off x="8369354" y="541058"/>
            <a:ext cx="839960" cy="1110460"/>
          </a:xfrm>
          <a:custGeom>
            <a:avLst/>
            <a:gdLst>
              <a:gd name="connsiteX0" fmla="*/ 205 w 839960"/>
              <a:gd name="connsiteY0" fmla="*/ 18779 h 1110460"/>
              <a:gd name="connsiteX1" fmla="*/ 84181 w 839960"/>
              <a:gd name="connsiteY1" fmla="*/ 102754 h 1110460"/>
              <a:gd name="connsiteX2" fmla="*/ 112173 w 839960"/>
              <a:gd name="connsiteY2" fmla="*/ 149407 h 1110460"/>
              <a:gd name="connsiteX3" fmla="*/ 168156 w 839960"/>
              <a:gd name="connsiteY3" fmla="*/ 177399 h 1110460"/>
              <a:gd name="connsiteX4" fmla="*/ 205479 w 839960"/>
              <a:gd name="connsiteY4" fmla="*/ 196060 h 1110460"/>
              <a:gd name="connsiteX5" fmla="*/ 214809 w 839960"/>
              <a:gd name="connsiteY5" fmla="*/ 224052 h 1110460"/>
              <a:gd name="connsiteX6" fmla="*/ 280124 w 839960"/>
              <a:gd name="connsiteY6" fmla="*/ 270705 h 1110460"/>
              <a:gd name="connsiteX7" fmla="*/ 336107 w 839960"/>
              <a:gd name="connsiteY7" fmla="*/ 326689 h 1110460"/>
              <a:gd name="connsiteX8" fmla="*/ 364099 w 839960"/>
              <a:gd name="connsiteY8" fmla="*/ 354681 h 1110460"/>
              <a:gd name="connsiteX9" fmla="*/ 401422 w 839960"/>
              <a:gd name="connsiteY9" fmla="*/ 382673 h 1110460"/>
              <a:gd name="connsiteX10" fmla="*/ 448075 w 839960"/>
              <a:gd name="connsiteY10" fmla="*/ 429326 h 1110460"/>
              <a:gd name="connsiteX11" fmla="*/ 485397 w 839960"/>
              <a:gd name="connsiteY11" fmla="*/ 475979 h 1110460"/>
              <a:gd name="connsiteX12" fmla="*/ 513389 w 839960"/>
              <a:gd name="connsiteY12" fmla="*/ 513301 h 1110460"/>
              <a:gd name="connsiteX13" fmla="*/ 532050 w 839960"/>
              <a:gd name="connsiteY13" fmla="*/ 541293 h 1110460"/>
              <a:gd name="connsiteX14" fmla="*/ 597364 w 839960"/>
              <a:gd name="connsiteY14" fmla="*/ 578615 h 1110460"/>
              <a:gd name="connsiteX15" fmla="*/ 616026 w 839960"/>
              <a:gd name="connsiteY15" fmla="*/ 615938 h 1110460"/>
              <a:gd name="connsiteX16" fmla="*/ 644017 w 839960"/>
              <a:gd name="connsiteY16" fmla="*/ 643930 h 1110460"/>
              <a:gd name="connsiteX17" fmla="*/ 653348 w 839960"/>
              <a:gd name="connsiteY17" fmla="*/ 671922 h 1110460"/>
              <a:gd name="connsiteX18" fmla="*/ 672009 w 839960"/>
              <a:gd name="connsiteY18" fmla="*/ 699913 h 1110460"/>
              <a:gd name="connsiteX19" fmla="*/ 681340 w 839960"/>
              <a:gd name="connsiteY19" fmla="*/ 737236 h 1110460"/>
              <a:gd name="connsiteX20" fmla="*/ 709332 w 839960"/>
              <a:gd name="connsiteY20" fmla="*/ 765228 h 1110460"/>
              <a:gd name="connsiteX21" fmla="*/ 727993 w 839960"/>
              <a:gd name="connsiteY21" fmla="*/ 793220 h 1110460"/>
              <a:gd name="connsiteX22" fmla="*/ 755985 w 839960"/>
              <a:gd name="connsiteY22" fmla="*/ 839873 h 1110460"/>
              <a:gd name="connsiteX23" fmla="*/ 746654 w 839960"/>
              <a:gd name="connsiteY23" fmla="*/ 1017154 h 1110460"/>
              <a:gd name="connsiteX24" fmla="*/ 737324 w 839960"/>
              <a:gd name="connsiteY24" fmla="*/ 1045146 h 1110460"/>
              <a:gd name="connsiteX25" fmla="*/ 755985 w 839960"/>
              <a:gd name="connsiteY25" fmla="*/ 1110460 h 1110460"/>
              <a:gd name="connsiteX26" fmla="*/ 802638 w 839960"/>
              <a:gd name="connsiteY26" fmla="*/ 1101130 h 1110460"/>
              <a:gd name="connsiteX27" fmla="*/ 839960 w 839960"/>
              <a:gd name="connsiteY27" fmla="*/ 1045146 h 1110460"/>
              <a:gd name="connsiteX28" fmla="*/ 830630 w 839960"/>
              <a:gd name="connsiteY28" fmla="*/ 802550 h 1110460"/>
              <a:gd name="connsiteX29" fmla="*/ 783977 w 839960"/>
              <a:gd name="connsiteY29" fmla="*/ 690583 h 1110460"/>
              <a:gd name="connsiteX30" fmla="*/ 737324 w 839960"/>
              <a:gd name="connsiteY30" fmla="*/ 615938 h 1110460"/>
              <a:gd name="connsiteX31" fmla="*/ 718662 w 839960"/>
              <a:gd name="connsiteY31" fmla="*/ 578615 h 1110460"/>
              <a:gd name="connsiteX32" fmla="*/ 737324 w 839960"/>
              <a:gd name="connsiteY32" fmla="*/ 149407 h 1110460"/>
              <a:gd name="connsiteX33" fmla="*/ 746654 w 839960"/>
              <a:gd name="connsiteY33" fmla="*/ 121415 h 1110460"/>
              <a:gd name="connsiteX34" fmla="*/ 755985 w 839960"/>
              <a:gd name="connsiteY34" fmla="*/ 84093 h 1110460"/>
              <a:gd name="connsiteX35" fmla="*/ 746654 w 839960"/>
              <a:gd name="connsiteY35" fmla="*/ 9448 h 1110460"/>
              <a:gd name="connsiteX36" fmla="*/ 709332 w 839960"/>
              <a:gd name="connsiteY36" fmla="*/ 118 h 1110460"/>
              <a:gd name="connsiteX37" fmla="*/ 326777 w 839960"/>
              <a:gd name="connsiteY37" fmla="*/ 9448 h 1110460"/>
              <a:gd name="connsiteX38" fmla="*/ 214809 w 839960"/>
              <a:gd name="connsiteY38" fmla="*/ 18779 h 1110460"/>
              <a:gd name="connsiteX39" fmla="*/ 186817 w 839960"/>
              <a:gd name="connsiteY39" fmla="*/ 28109 h 1110460"/>
              <a:gd name="connsiteX40" fmla="*/ 112173 w 839960"/>
              <a:gd name="connsiteY40" fmla="*/ 37440 h 1110460"/>
              <a:gd name="connsiteX41" fmla="*/ 205 w 839960"/>
              <a:gd name="connsiteY41" fmla="*/ 18779 h 1110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839960" h="1110460">
                <a:moveTo>
                  <a:pt x="205" y="18779"/>
                </a:moveTo>
                <a:cubicBezTo>
                  <a:pt x="-4460" y="29665"/>
                  <a:pt x="71663" y="65199"/>
                  <a:pt x="84181" y="102754"/>
                </a:cubicBezTo>
                <a:cubicBezTo>
                  <a:pt x="93690" y="131284"/>
                  <a:pt x="88884" y="130776"/>
                  <a:pt x="112173" y="149407"/>
                </a:cubicBezTo>
                <a:cubicBezTo>
                  <a:pt x="146660" y="176997"/>
                  <a:pt x="131006" y="161478"/>
                  <a:pt x="168156" y="177399"/>
                </a:cubicBezTo>
                <a:cubicBezTo>
                  <a:pt x="180941" y="182878"/>
                  <a:pt x="193038" y="189840"/>
                  <a:pt x="205479" y="196060"/>
                </a:cubicBezTo>
                <a:cubicBezTo>
                  <a:pt x="208589" y="205391"/>
                  <a:pt x="208513" y="216496"/>
                  <a:pt x="214809" y="224052"/>
                </a:cubicBezTo>
                <a:cubicBezTo>
                  <a:pt x="234688" y="247907"/>
                  <a:pt x="258241" y="251253"/>
                  <a:pt x="280124" y="270705"/>
                </a:cubicBezTo>
                <a:cubicBezTo>
                  <a:pt x="299849" y="288238"/>
                  <a:pt x="317446" y="308028"/>
                  <a:pt x="336107" y="326689"/>
                </a:cubicBezTo>
                <a:cubicBezTo>
                  <a:pt x="345438" y="336020"/>
                  <a:pt x="353543" y="346764"/>
                  <a:pt x="364099" y="354681"/>
                </a:cubicBezTo>
                <a:cubicBezTo>
                  <a:pt x="376540" y="364012"/>
                  <a:pt x="389799" y="372341"/>
                  <a:pt x="401422" y="382673"/>
                </a:cubicBezTo>
                <a:cubicBezTo>
                  <a:pt x="417859" y="397284"/>
                  <a:pt x="448075" y="429326"/>
                  <a:pt x="448075" y="429326"/>
                </a:cubicBezTo>
                <a:cubicBezTo>
                  <a:pt x="466238" y="483820"/>
                  <a:pt x="443193" y="433776"/>
                  <a:pt x="485397" y="475979"/>
                </a:cubicBezTo>
                <a:cubicBezTo>
                  <a:pt x="496393" y="486975"/>
                  <a:pt x="504350" y="500647"/>
                  <a:pt x="513389" y="513301"/>
                </a:cubicBezTo>
                <a:cubicBezTo>
                  <a:pt x="519907" y="522426"/>
                  <a:pt x="524121" y="533364"/>
                  <a:pt x="532050" y="541293"/>
                </a:cubicBezTo>
                <a:cubicBezTo>
                  <a:pt x="545237" y="554480"/>
                  <a:pt x="582729" y="571297"/>
                  <a:pt x="597364" y="578615"/>
                </a:cubicBezTo>
                <a:cubicBezTo>
                  <a:pt x="603585" y="591056"/>
                  <a:pt x="607941" y="604619"/>
                  <a:pt x="616026" y="615938"/>
                </a:cubicBezTo>
                <a:cubicBezTo>
                  <a:pt x="623696" y="626676"/>
                  <a:pt x="636698" y="632951"/>
                  <a:pt x="644017" y="643930"/>
                </a:cubicBezTo>
                <a:cubicBezTo>
                  <a:pt x="649473" y="652114"/>
                  <a:pt x="648949" y="663125"/>
                  <a:pt x="653348" y="671922"/>
                </a:cubicBezTo>
                <a:cubicBezTo>
                  <a:pt x="658363" y="681952"/>
                  <a:pt x="665789" y="690583"/>
                  <a:pt x="672009" y="699913"/>
                </a:cubicBezTo>
                <a:cubicBezTo>
                  <a:pt x="675119" y="712354"/>
                  <a:pt x="674978" y="726102"/>
                  <a:pt x="681340" y="737236"/>
                </a:cubicBezTo>
                <a:cubicBezTo>
                  <a:pt x="687887" y="748693"/>
                  <a:pt x="700884" y="755091"/>
                  <a:pt x="709332" y="765228"/>
                </a:cubicBezTo>
                <a:cubicBezTo>
                  <a:pt x="716511" y="773843"/>
                  <a:pt x="722978" y="783190"/>
                  <a:pt x="727993" y="793220"/>
                </a:cubicBezTo>
                <a:cubicBezTo>
                  <a:pt x="752218" y="841669"/>
                  <a:pt x="719536" y="803422"/>
                  <a:pt x="755985" y="839873"/>
                </a:cubicBezTo>
                <a:cubicBezTo>
                  <a:pt x="752875" y="898967"/>
                  <a:pt x="752011" y="958222"/>
                  <a:pt x="746654" y="1017154"/>
                </a:cubicBezTo>
                <a:cubicBezTo>
                  <a:pt x="745764" y="1026949"/>
                  <a:pt x="736345" y="1035359"/>
                  <a:pt x="737324" y="1045146"/>
                </a:cubicBezTo>
                <a:cubicBezTo>
                  <a:pt x="739577" y="1067676"/>
                  <a:pt x="749765" y="1088689"/>
                  <a:pt x="755985" y="1110460"/>
                </a:cubicBezTo>
                <a:cubicBezTo>
                  <a:pt x="771536" y="1107350"/>
                  <a:pt x="788453" y="1108222"/>
                  <a:pt x="802638" y="1101130"/>
                </a:cubicBezTo>
                <a:cubicBezTo>
                  <a:pt x="830596" y="1087151"/>
                  <a:pt x="831667" y="1070028"/>
                  <a:pt x="839960" y="1045146"/>
                </a:cubicBezTo>
                <a:cubicBezTo>
                  <a:pt x="836850" y="964281"/>
                  <a:pt x="836013" y="883296"/>
                  <a:pt x="830630" y="802550"/>
                </a:cubicBezTo>
                <a:cubicBezTo>
                  <a:pt x="828157" y="765451"/>
                  <a:pt x="797520" y="717669"/>
                  <a:pt x="783977" y="690583"/>
                </a:cubicBezTo>
                <a:cubicBezTo>
                  <a:pt x="736697" y="596024"/>
                  <a:pt x="797880" y="712827"/>
                  <a:pt x="737324" y="615938"/>
                </a:cubicBezTo>
                <a:cubicBezTo>
                  <a:pt x="729952" y="604143"/>
                  <a:pt x="724883" y="591056"/>
                  <a:pt x="718662" y="578615"/>
                </a:cubicBezTo>
                <a:cubicBezTo>
                  <a:pt x="720035" y="527818"/>
                  <a:pt x="717413" y="268876"/>
                  <a:pt x="737324" y="149407"/>
                </a:cubicBezTo>
                <a:cubicBezTo>
                  <a:pt x="738941" y="139705"/>
                  <a:pt x="743952" y="130872"/>
                  <a:pt x="746654" y="121415"/>
                </a:cubicBezTo>
                <a:cubicBezTo>
                  <a:pt x="750177" y="109085"/>
                  <a:pt x="752875" y="96534"/>
                  <a:pt x="755985" y="84093"/>
                </a:cubicBezTo>
                <a:cubicBezTo>
                  <a:pt x="752875" y="59211"/>
                  <a:pt x="758832" y="31368"/>
                  <a:pt x="746654" y="9448"/>
                </a:cubicBezTo>
                <a:cubicBezTo>
                  <a:pt x="740426" y="-1762"/>
                  <a:pt x="722156" y="118"/>
                  <a:pt x="709332" y="118"/>
                </a:cubicBezTo>
                <a:cubicBezTo>
                  <a:pt x="581776" y="118"/>
                  <a:pt x="454295" y="6338"/>
                  <a:pt x="326777" y="9448"/>
                </a:cubicBezTo>
                <a:cubicBezTo>
                  <a:pt x="289454" y="12558"/>
                  <a:pt x="251933" y="13829"/>
                  <a:pt x="214809" y="18779"/>
                </a:cubicBezTo>
                <a:cubicBezTo>
                  <a:pt x="205060" y="20079"/>
                  <a:pt x="196494" y="26350"/>
                  <a:pt x="186817" y="28109"/>
                </a:cubicBezTo>
                <a:cubicBezTo>
                  <a:pt x="162146" y="32595"/>
                  <a:pt x="136956" y="33627"/>
                  <a:pt x="112173" y="37440"/>
                </a:cubicBezTo>
                <a:cubicBezTo>
                  <a:pt x="27736" y="50431"/>
                  <a:pt x="4870" y="7893"/>
                  <a:pt x="205" y="1877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6536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/>
        </p:nvSpPr>
        <p:spPr>
          <a:xfrm>
            <a:off x="755650" y="1700361"/>
            <a:ext cx="7561263" cy="4752975"/>
          </a:xfrm>
          <a:prstGeom prst="ellipse">
            <a:avLst/>
          </a:prstGeom>
          <a:solidFill>
            <a:schemeClr val="accent1">
              <a:lumMod val="50000"/>
              <a:alpha val="8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9699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fr-FR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GSC Structure</a:t>
            </a:r>
          </a:p>
        </p:txBody>
      </p:sp>
      <p:sp>
        <p:nvSpPr>
          <p:cNvPr id="6" name="Oval 5">
            <a:hlinkClick r:id="rId3"/>
          </p:cNvPr>
          <p:cNvSpPr/>
          <p:nvPr/>
        </p:nvSpPr>
        <p:spPr>
          <a:xfrm>
            <a:off x="3419475" y="4651375"/>
            <a:ext cx="2232025" cy="144145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6011863" y="3084513"/>
            <a:ext cx="2232025" cy="1439862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Oval 6">
            <a:hlinkClick r:id="rId4"/>
          </p:cNvPr>
          <p:cNvSpPr/>
          <p:nvPr/>
        </p:nvSpPr>
        <p:spPr>
          <a:xfrm>
            <a:off x="3419475" y="1845122"/>
            <a:ext cx="2232025" cy="14398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5892800" y="3321050"/>
            <a:ext cx="2232025" cy="1439863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5724525" y="3643313"/>
            <a:ext cx="2232025" cy="1439862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952499" y="3156507"/>
            <a:ext cx="2232025" cy="143986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9709" name="TextBox 13"/>
          <p:cNvSpPr txBox="1">
            <a:spLocks noChangeArrowheads="1"/>
          </p:cNvSpPr>
          <p:nvPr/>
        </p:nvSpPr>
        <p:spPr bwMode="auto">
          <a:xfrm>
            <a:off x="3851275" y="2155006"/>
            <a:ext cx="1368425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7F1416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4400" dirty="0">
                <a:solidFill>
                  <a:srgbClr val="FFFFFF"/>
                </a:solidFill>
              </a:rPr>
              <a:t>SAG</a:t>
            </a:r>
          </a:p>
        </p:txBody>
      </p:sp>
      <p:sp>
        <p:nvSpPr>
          <p:cNvPr id="29710" name="TextBox 14"/>
          <p:cNvSpPr txBox="1">
            <a:spLocks noChangeArrowheads="1"/>
          </p:cNvSpPr>
          <p:nvPr/>
        </p:nvSpPr>
        <p:spPr bwMode="auto">
          <a:xfrm>
            <a:off x="6156325" y="4006850"/>
            <a:ext cx="15843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7F1416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3600" dirty="0" err="1" smtClean="0">
                <a:solidFill>
                  <a:srgbClr val="FFFFFF"/>
                </a:solidFill>
              </a:rPr>
              <a:t>CoPs</a:t>
            </a:r>
            <a:endParaRPr lang="en-US" altLang="en-US" sz="3600" dirty="0">
              <a:solidFill>
                <a:srgbClr val="FFFFFF"/>
              </a:solidFill>
            </a:endParaRPr>
          </a:p>
        </p:txBody>
      </p:sp>
      <p:sp>
        <p:nvSpPr>
          <p:cNvPr id="29712" name="TextBox 16"/>
          <p:cNvSpPr txBox="1">
            <a:spLocks noChangeArrowheads="1"/>
          </p:cNvSpPr>
          <p:nvPr/>
        </p:nvSpPr>
        <p:spPr bwMode="auto">
          <a:xfrm>
            <a:off x="3851275" y="4922838"/>
            <a:ext cx="1368425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7F1416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800" b="1">
                <a:solidFill>
                  <a:srgbClr val="FFFFFF"/>
                </a:solidFill>
              </a:rPr>
              <a:t>Support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800" b="1">
                <a:solidFill>
                  <a:srgbClr val="FFFFFF"/>
                </a:solidFill>
              </a:rPr>
              <a:t>Team</a:t>
            </a:r>
          </a:p>
        </p:txBody>
      </p:sp>
      <p:sp>
        <p:nvSpPr>
          <p:cNvPr id="29713" name="TextBox 18"/>
          <p:cNvSpPr txBox="1">
            <a:spLocks noChangeArrowheads="1"/>
          </p:cNvSpPr>
          <p:nvPr/>
        </p:nvSpPr>
        <p:spPr bwMode="auto">
          <a:xfrm>
            <a:off x="3563938" y="3411538"/>
            <a:ext cx="2087562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7F1416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800" b="1">
                <a:solidFill>
                  <a:schemeClr val="bg1"/>
                </a:solidFill>
              </a:rPr>
              <a:t>Global Cluster</a:t>
            </a:r>
          </a:p>
        </p:txBody>
      </p:sp>
      <p:sp>
        <p:nvSpPr>
          <p:cNvPr id="16" name="Oval 15">
            <a:hlinkClick r:id="rId4"/>
          </p:cNvPr>
          <p:cNvSpPr/>
          <p:nvPr/>
        </p:nvSpPr>
        <p:spPr>
          <a:xfrm>
            <a:off x="5650334" y="2057164"/>
            <a:ext cx="1190203" cy="1027349"/>
          </a:xfrm>
          <a:prstGeom prst="ellipse">
            <a:avLst/>
          </a:prstGeom>
          <a:solidFill>
            <a:schemeClr val="accent2">
              <a:lumMod val="75000"/>
              <a:alpha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TextBox 13"/>
          <p:cNvSpPr txBox="1">
            <a:spLocks noChangeArrowheads="1"/>
          </p:cNvSpPr>
          <p:nvPr/>
        </p:nvSpPr>
        <p:spPr bwMode="auto">
          <a:xfrm>
            <a:off x="5561222" y="2180084"/>
            <a:ext cx="1368425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7F1416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4400" dirty="0" smtClean="0">
                <a:solidFill>
                  <a:schemeClr val="bg1"/>
                </a:solidFill>
              </a:rPr>
              <a:t>DCG</a:t>
            </a:r>
            <a:endParaRPr lang="en-US" altLang="en-US" sz="4400" dirty="0">
              <a:solidFill>
                <a:schemeClr val="bg1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1174749" y="3255726"/>
            <a:ext cx="2232025" cy="143986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1331913" y="3356917"/>
            <a:ext cx="2232025" cy="143986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9711" name="TextBox 15"/>
          <p:cNvSpPr txBox="1">
            <a:spLocks noChangeArrowheads="1"/>
          </p:cNvSpPr>
          <p:nvPr/>
        </p:nvSpPr>
        <p:spPr bwMode="auto">
          <a:xfrm>
            <a:off x="1719262" y="3803413"/>
            <a:ext cx="14573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7F1416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3600" dirty="0" err="1">
                <a:solidFill>
                  <a:schemeClr val="bg1"/>
                </a:solidFill>
              </a:rPr>
              <a:t>TWiGs</a:t>
            </a:r>
            <a:endParaRPr lang="en-US" alt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2639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smtClean="0"/>
              <a:t>ACTED</a:t>
            </a:r>
          </a:p>
          <a:p>
            <a:r>
              <a:rPr lang="en-US" dirty="0" smtClean="0"/>
              <a:t>CARE International</a:t>
            </a:r>
          </a:p>
          <a:p>
            <a:r>
              <a:rPr lang="en-US" dirty="0" smtClean="0"/>
              <a:t>CRS</a:t>
            </a:r>
          </a:p>
          <a:p>
            <a:r>
              <a:rPr lang="en-US" dirty="0" smtClean="0"/>
              <a:t>Habitat for Humanity</a:t>
            </a:r>
          </a:p>
          <a:p>
            <a:r>
              <a:rPr lang="en-US" dirty="0" smtClean="0"/>
              <a:t>IFRC</a:t>
            </a:r>
          </a:p>
          <a:p>
            <a:r>
              <a:rPr lang="en-US" dirty="0" err="1" smtClean="0"/>
              <a:t>InterAction</a:t>
            </a:r>
            <a:endParaRPr lang="en-US" dirty="0" smtClean="0"/>
          </a:p>
          <a:p>
            <a:r>
              <a:rPr lang="en-US" dirty="0" smtClean="0"/>
              <a:t>IOM</a:t>
            </a:r>
          </a:p>
          <a:p>
            <a:r>
              <a:rPr lang="en-US" dirty="0" smtClean="0"/>
              <a:t>NRC</a:t>
            </a:r>
          </a:p>
          <a:p>
            <a:r>
              <a:rPr lang="en-US" dirty="0" smtClean="0"/>
              <a:t>Save the Children</a:t>
            </a:r>
          </a:p>
          <a:p>
            <a:r>
              <a:rPr lang="en-US" dirty="0" smtClean="0"/>
              <a:t>UNHABITAT</a:t>
            </a:r>
          </a:p>
          <a:p>
            <a:r>
              <a:rPr lang="en-US" dirty="0" smtClean="0"/>
              <a:t>UNHCR</a:t>
            </a:r>
          </a:p>
          <a:p>
            <a:r>
              <a:rPr lang="en-US" dirty="0" smtClean="0"/>
              <a:t>World Vision Internationa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6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rategic Advisory Group (SAG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32906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3"/>
          <p:cNvSpPr txBox="1">
            <a:spLocks/>
          </p:cNvSpPr>
          <p:nvPr/>
        </p:nvSpPr>
        <p:spPr bwMode="auto">
          <a:xfrm>
            <a:off x="3563888" y="764704"/>
            <a:ext cx="2465387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Deputy Coordinators</a:t>
            </a:r>
            <a:endParaRPr lang="en-GB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26627" name="Rectangle 7"/>
          <p:cNvSpPr>
            <a:spLocks noChangeArrowheads="1"/>
          </p:cNvSpPr>
          <p:nvPr/>
        </p:nvSpPr>
        <p:spPr bwMode="auto">
          <a:xfrm>
            <a:off x="0" y="195263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26628" name="Title 3"/>
          <p:cNvSpPr txBox="1">
            <a:spLocks/>
          </p:cNvSpPr>
          <p:nvPr/>
        </p:nvSpPr>
        <p:spPr bwMode="auto">
          <a:xfrm>
            <a:off x="644525" y="4149080"/>
            <a:ext cx="1312863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000" b="1" dirty="0"/>
              <a:t>Davide Nicolini</a:t>
            </a:r>
          </a:p>
          <a:p>
            <a:pPr eaLnBrk="1" hangingPunct="1"/>
            <a:r>
              <a:rPr lang="en-US" altLang="en-US" sz="1000" dirty="0"/>
              <a:t>GFP UNHCR/SDC</a:t>
            </a:r>
            <a:endParaRPr lang="en-GB" altLang="en-US" sz="1000" dirty="0"/>
          </a:p>
          <a:p>
            <a:pPr eaLnBrk="1" hangingPunct="1"/>
            <a:endParaRPr lang="en-GB" altLang="en-US" sz="1000" dirty="0"/>
          </a:p>
        </p:txBody>
      </p:sp>
      <p:sp>
        <p:nvSpPr>
          <p:cNvPr id="26629" name="Title 3"/>
          <p:cNvSpPr txBox="1">
            <a:spLocks/>
          </p:cNvSpPr>
          <p:nvPr/>
        </p:nvSpPr>
        <p:spPr bwMode="auto">
          <a:xfrm>
            <a:off x="6304597" y="2323728"/>
            <a:ext cx="12414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/>
              <a:t>Neil Bauman </a:t>
            </a:r>
          </a:p>
          <a:p>
            <a:pPr eaLnBrk="1" hangingPunct="1"/>
            <a:r>
              <a:rPr lang="en-GB" altLang="en-US" sz="1000" dirty="0"/>
              <a:t>GFP IFRC/</a:t>
            </a:r>
            <a:r>
              <a:rPr lang="en-GB" altLang="en-US" sz="1000" dirty="0" err="1"/>
              <a:t>CanRC</a:t>
            </a:r>
            <a:endParaRPr lang="en-GB" altLang="en-US" sz="1000" dirty="0"/>
          </a:p>
          <a:p>
            <a:pPr eaLnBrk="1" hangingPunct="1"/>
            <a:endParaRPr lang="en-US" altLang="en-US" sz="1000" b="1" dirty="0"/>
          </a:p>
          <a:p>
            <a:pPr eaLnBrk="1" hangingPunct="1"/>
            <a:endParaRPr lang="en-GB" altLang="en-US" sz="1000" b="1" dirty="0"/>
          </a:p>
        </p:txBody>
      </p:sp>
      <p:sp>
        <p:nvSpPr>
          <p:cNvPr id="26630" name="Title 3"/>
          <p:cNvSpPr txBox="1">
            <a:spLocks/>
          </p:cNvSpPr>
          <p:nvPr/>
        </p:nvSpPr>
        <p:spPr bwMode="auto">
          <a:xfrm>
            <a:off x="1900238" y="4040188"/>
            <a:ext cx="12414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/>
              <a:t>Gregg McDonald</a:t>
            </a:r>
          </a:p>
          <a:p>
            <a:pPr eaLnBrk="1" hangingPunct="1"/>
            <a:r>
              <a:rPr lang="en-US" altLang="en-US" sz="1000"/>
              <a:t>GFP UNHCR</a:t>
            </a:r>
            <a:endParaRPr lang="en-GB" altLang="en-US" sz="1000"/>
          </a:p>
          <a:p>
            <a:pPr eaLnBrk="1" hangingPunct="1"/>
            <a:endParaRPr lang="en-GB" altLang="en-US" sz="1000">
              <a:solidFill>
                <a:srgbClr val="7F7F7F"/>
              </a:solidFill>
            </a:endParaRPr>
          </a:p>
        </p:txBody>
      </p:sp>
      <p:sp>
        <p:nvSpPr>
          <p:cNvPr id="26631" name="Title 3"/>
          <p:cNvSpPr txBox="1">
            <a:spLocks/>
          </p:cNvSpPr>
          <p:nvPr/>
        </p:nvSpPr>
        <p:spPr bwMode="auto">
          <a:xfrm>
            <a:off x="654050" y="5620176"/>
            <a:ext cx="1397000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/>
              <a:t>Joseph </a:t>
            </a:r>
            <a:r>
              <a:rPr lang="en-US" altLang="en-US" sz="1000" b="1" dirty="0" err="1"/>
              <a:t>Ashmore</a:t>
            </a:r>
            <a:endParaRPr lang="en-US" altLang="en-US" sz="1000" b="1" dirty="0"/>
          </a:p>
          <a:p>
            <a:pPr eaLnBrk="1" hangingPunct="1"/>
            <a:r>
              <a:rPr lang="en-US" altLang="en-US" sz="1000" dirty="0"/>
              <a:t>GFP </a:t>
            </a:r>
            <a:r>
              <a:rPr lang="en-US" altLang="en-US" sz="1000" dirty="0" smtClean="0"/>
              <a:t>IOM</a:t>
            </a:r>
            <a:endParaRPr lang="en-GB" altLang="en-US" sz="1000" b="1" dirty="0"/>
          </a:p>
        </p:txBody>
      </p:sp>
      <p:sp>
        <p:nvSpPr>
          <p:cNvPr id="26632" name="Title 3"/>
          <p:cNvSpPr txBox="1">
            <a:spLocks/>
          </p:cNvSpPr>
          <p:nvPr/>
        </p:nvSpPr>
        <p:spPr bwMode="auto">
          <a:xfrm>
            <a:off x="3578175" y="2138164"/>
            <a:ext cx="156527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/>
              <a:t>Miguel Urquia</a:t>
            </a:r>
          </a:p>
          <a:p>
            <a:pPr eaLnBrk="1" hangingPunct="1"/>
            <a:r>
              <a:rPr lang="en-US" altLang="en-US" sz="1000" dirty="0"/>
              <a:t>Conflict UNHCR</a:t>
            </a:r>
          </a:p>
        </p:txBody>
      </p:sp>
      <p:sp>
        <p:nvSpPr>
          <p:cNvPr id="26633" name="Title 3"/>
          <p:cNvSpPr txBox="1">
            <a:spLocks/>
          </p:cNvSpPr>
          <p:nvPr/>
        </p:nvSpPr>
        <p:spPr bwMode="auto">
          <a:xfrm>
            <a:off x="4754513" y="2201490"/>
            <a:ext cx="1684337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/>
              <a:t>Pablo Medina</a:t>
            </a:r>
          </a:p>
          <a:p>
            <a:pPr eaLnBrk="1" hangingPunct="1"/>
            <a:r>
              <a:rPr lang="en-GB" altLang="en-US" sz="1000"/>
              <a:t>Natural Disasters IFRC</a:t>
            </a:r>
            <a:r>
              <a:rPr lang="en-GB" altLang="en-US" sz="1000" b="1"/>
              <a:t/>
            </a:r>
            <a:br>
              <a:rPr lang="en-GB" altLang="en-US" sz="1000" b="1"/>
            </a:br>
            <a:endParaRPr lang="en-GB" altLang="en-US" sz="1000" b="1"/>
          </a:p>
        </p:txBody>
      </p:sp>
      <p:sp>
        <p:nvSpPr>
          <p:cNvPr id="26634" name="Title 3"/>
          <p:cNvSpPr txBox="1">
            <a:spLocks/>
          </p:cNvSpPr>
          <p:nvPr/>
        </p:nvSpPr>
        <p:spPr bwMode="auto">
          <a:xfrm>
            <a:off x="630238" y="2492896"/>
            <a:ext cx="2511425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b="1" dirty="0" smtClean="0">
                <a:solidFill>
                  <a:srgbClr val="04314C"/>
                </a:solidFill>
                <a:latin typeface="Verdana" panose="020B0604030504040204" pitchFamily="34" charset="0"/>
              </a:rPr>
              <a:t>Global Focal Points for Coordination</a:t>
            </a:r>
            <a:endParaRPr lang="en-US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26635" name="Title 3"/>
          <p:cNvSpPr txBox="1">
            <a:spLocks/>
          </p:cNvSpPr>
          <p:nvPr/>
        </p:nvSpPr>
        <p:spPr bwMode="auto">
          <a:xfrm>
            <a:off x="7655941" y="3963020"/>
            <a:ext cx="1452563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 err="1"/>
              <a:t>Shirin</a:t>
            </a:r>
            <a:r>
              <a:rPr lang="en-US" altLang="en-US" sz="1000" b="1" dirty="0"/>
              <a:t> </a:t>
            </a:r>
            <a:r>
              <a:rPr lang="en-US" altLang="en-US" sz="1000" b="1" dirty="0" err="1"/>
              <a:t>Narymbaeva</a:t>
            </a:r>
            <a:endParaRPr lang="en-US" altLang="en-US" sz="1000" b="1" dirty="0"/>
          </a:p>
          <a:p>
            <a:pPr eaLnBrk="1" hangingPunct="1"/>
            <a:r>
              <a:rPr lang="en-GB" altLang="en-US" sz="1000" dirty="0"/>
              <a:t>Website support IFRC</a:t>
            </a:r>
          </a:p>
          <a:p>
            <a:pPr eaLnBrk="1" hangingPunct="1"/>
            <a:endParaRPr lang="en-US" altLang="en-US" sz="1000" b="1" dirty="0"/>
          </a:p>
          <a:p>
            <a:pPr eaLnBrk="1" hangingPunct="1"/>
            <a:endParaRPr lang="en-GB" altLang="en-US" sz="1000" b="1" dirty="0"/>
          </a:p>
        </p:txBody>
      </p:sp>
      <p:sp>
        <p:nvSpPr>
          <p:cNvPr id="26663" name="Title 3"/>
          <p:cNvSpPr txBox="1">
            <a:spLocks/>
          </p:cNvSpPr>
          <p:nvPr/>
        </p:nvSpPr>
        <p:spPr bwMode="auto">
          <a:xfrm>
            <a:off x="6245051" y="5661249"/>
            <a:ext cx="1711325" cy="888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/>
              <a:t>Vincent </a:t>
            </a:r>
            <a:r>
              <a:rPr lang="en-US" altLang="en-US" sz="1000" b="1" dirty="0" err="1" smtClean="0"/>
              <a:t>Annoni</a:t>
            </a:r>
            <a:r>
              <a:rPr lang="en-US" altLang="en-US" sz="1000" dirty="0"/>
              <a:t/>
            </a:r>
            <a:br>
              <a:rPr lang="en-US" altLang="en-US" sz="1000" dirty="0"/>
            </a:br>
            <a:r>
              <a:rPr lang="en-US" altLang="en-US" sz="1000" dirty="0"/>
              <a:t>REACH/Impact Initiatives</a:t>
            </a:r>
            <a:endParaRPr lang="en-GB" altLang="en-US" sz="1000" dirty="0"/>
          </a:p>
          <a:p>
            <a:pPr eaLnBrk="1" hangingPunct="1"/>
            <a:endParaRPr lang="en-GB" altLang="en-US" sz="1000" dirty="0">
              <a:solidFill>
                <a:srgbClr val="7F7F7F"/>
              </a:solidFill>
            </a:endParaRPr>
          </a:p>
        </p:txBody>
      </p:sp>
      <p:sp>
        <p:nvSpPr>
          <p:cNvPr id="26637" name="Title 3"/>
          <p:cNvSpPr txBox="1">
            <a:spLocks/>
          </p:cNvSpPr>
          <p:nvPr/>
        </p:nvSpPr>
        <p:spPr bwMode="auto">
          <a:xfrm>
            <a:off x="5979219" y="4342681"/>
            <a:ext cx="3489325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Assessment M&amp;E</a:t>
            </a:r>
          </a:p>
        </p:txBody>
      </p:sp>
      <p:sp>
        <p:nvSpPr>
          <p:cNvPr id="26638" name="Title 3"/>
          <p:cNvSpPr txBox="1">
            <a:spLocks/>
          </p:cNvSpPr>
          <p:nvPr/>
        </p:nvSpPr>
        <p:spPr bwMode="auto">
          <a:xfrm>
            <a:off x="6261335" y="665485"/>
            <a:ext cx="2396653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Information Management</a:t>
            </a:r>
          </a:p>
        </p:txBody>
      </p:sp>
      <p:sp>
        <p:nvSpPr>
          <p:cNvPr id="26639" name="Title 3"/>
          <p:cNvSpPr txBox="1">
            <a:spLocks/>
          </p:cNvSpPr>
          <p:nvPr/>
        </p:nvSpPr>
        <p:spPr bwMode="auto">
          <a:xfrm>
            <a:off x="7492429" y="2564904"/>
            <a:ext cx="16160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Communication &amp; Advocacy</a:t>
            </a:r>
          </a:p>
          <a:p>
            <a:pPr eaLnBrk="1" hangingPunct="1"/>
            <a:endParaRPr lang="en-US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26640" name="Title 3"/>
          <p:cNvSpPr txBox="1">
            <a:spLocks/>
          </p:cNvSpPr>
          <p:nvPr/>
        </p:nvSpPr>
        <p:spPr bwMode="auto">
          <a:xfrm>
            <a:off x="3267464" y="4365104"/>
            <a:ext cx="2255837" cy="47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Roving Focal Points</a:t>
            </a:r>
          </a:p>
        </p:txBody>
      </p:sp>
      <p:sp>
        <p:nvSpPr>
          <p:cNvPr id="26641" name="Title 3"/>
          <p:cNvSpPr txBox="1">
            <a:spLocks/>
          </p:cNvSpPr>
          <p:nvPr/>
        </p:nvSpPr>
        <p:spPr bwMode="auto">
          <a:xfrm>
            <a:off x="7526337" y="2105677"/>
            <a:ext cx="1492250" cy="68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/>
              <a:t>Bo Hurkmans</a:t>
            </a:r>
            <a:endParaRPr lang="fr-FR" altLang="en-US" sz="1000" b="1" dirty="0"/>
          </a:p>
          <a:p>
            <a:pPr eaLnBrk="1" hangingPunct="1"/>
            <a:r>
              <a:rPr lang="en-GB" altLang="en-US" sz="1000" dirty="0"/>
              <a:t>IMO UNHCR</a:t>
            </a:r>
          </a:p>
          <a:p>
            <a:pPr eaLnBrk="1" hangingPunct="1"/>
            <a:endParaRPr lang="en-GB" altLang="en-US" sz="1000" dirty="0">
              <a:solidFill>
                <a:srgbClr val="7F7F7F"/>
              </a:solidFill>
            </a:endParaRPr>
          </a:p>
        </p:txBody>
      </p:sp>
      <p:sp>
        <p:nvSpPr>
          <p:cNvPr id="26642" name="Title 1"/>
          <p:cNvSpPr>
            <a:spLocks noGrp="1"/>
          </p:cNvSpPr>
          <p:nvPr>
            <p:ph type="title" idx="4294967295"/>
          </p:nvPr>
        </p:nvSpPr>
        <p:spPr>
          <a:xfrm>
            <a:off x="230832" y="-171400"/>
            <a:ext cx="8229600" cy="1143000"/>
          </a:xfrm>
        </p:spPr>
        <p:txBody>
          <a:bodyPr/>
          <a:lstStyle/>
          <a:p>
            <a:r>
              <a:rPr lang="fr-CH" altLang="en-US" dirty="0" smtClean="0">
                <a:hlinkClick r:id="rId3"/>
              </a:rPr>
              <a:t>GSC support team</a:t>
            </a:r>
            <a:endParaRPr lang="en-GB" altLang="en-US" dirty="0" smtClean="0"/>
          </a:p>
        </p:txBody>
      </p:sp>
      <p:pic>
        <p:nvPicPr>
          <p:cNvPr id="26643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61112" y="1205072"/>
            <a:ext cx="800104" cy="996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4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3322" y="1196752"/>
            <a:ext cx="828678" cy="1036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5" name="Picture 6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2187" y="1100460"/>
            <a:ext cx="892176" cy="1109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6" name="Picture 9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9463" y="2996952"/>
            <a:ext cx="869950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7" name="Picture 10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9463" y="4672013"/>
            <a:ext cx="827087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648" name="Group 70"/>
          <p:cNvGrpSpPr>
            <a:grpSpLocks/>
          </p:cNvGrpSpPr>
          <p:nvPr/>
        </p:nvGrpSpPr>
        <p:grpSpPr bwMode="auto">
          <a:xfrm>
            <a:off x="7694422" y="4342843"/>
            <a:ext cx="1669288" cy="2036675"/>
            <a:chOff x="6182003" y="418728"/>
            <a:chExt cx="1669139" cy="2037012"/>
          </a:xfrm>
        </p:grpSpPr>
        <p:sp>
          <p:nvSpPr>
            <p:cNvPr id="26660" name="Title 3"/>
            <p:cNvSpPr txBox="1">
              <a:spLocks/>
            </p:cNvSpPr>
            <p:nvPr/>
          </p:nvSpPr>
          <p:spPr bwMode="auto">
            <a:xfrm>
              <a:off x="6222273" y="1940787"/>
              <a:ext cx="1460099" cy="514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000" b="1" dirty="0" smtClean="0"/>
                <a:t>Petya Boevska</a:t>
              </a:r>
              <a:endParaRPr lang="en-US" altLang="en-US" sz="1000" b="1" dirty="0"/>
            </a:p>
            <a:p>
              <a:pPr eaLnBrk="1" hangingPunct="1"/>
              <a:r>
                <a:rPr lang="en-US" altLang="en-US" sz="1000" dirty="0"/>
                <a:t>ECHO grant manager UNHCR</a:t>
              </a:r>
              <a:endParaRPr lang="en-GB" altLang="en-US" sz="1000" dirty="0"/>
            </a:p>
            <a:p>
              <a:pPr eaLnBrk="1" hangingPunct="1"/>
              <a:endParaRPr lang="en-GB" altLang="en-US" sz="1000" b="1" dirty="0"/>
            </a:p>
          </p:txBody>
        </p:sp>
        <p:sp>
          <p:nvSpPr>
            <p:cNvPr id="26661" name="Title 3"/>
            <p:cNvSpPr txBox="1">
              <a:spLocks/>
            </p:cNvSpPr>
            <p:nvPr/>
          </p:nvSpPr>
          <p:spPr bwMode="auto">
            <a:xfrm>
              <a:off x="6182003" y="418728"/>
              <a:ext cx="1669139" cy="598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00" b="1" dirty="0">
                  <a:solidFill>
                    <a:srgbClr val="04314C"/>
                  </a:solidFill>
                  <a:latin typeface="Verdana" panose="020B0604030504040204" pitchFamily="34" charset="0"/>
                </a:rPr>
                <a:t>Grant Management</a:t>
              </a:r>
            </a:p>
          </p:txBody>
        </p:sp>
      </p:grpSp>
      <p:sp>
        <p:nvSpPr>
          <p:cNvPr id="26649" name="Title 3"/>
          <p:cNvSpPr txBox="1">
            <a:spLocks/>
          </p:cNvSpPr>
          <p:nvPr/>
        </p:nvSpPr>
        <p:spPr bwMode="auto">
          <a:xfrm>
            <a:off x="3423915" y="5831482"/>
            <a:ext cx="1474788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000" b="1" dirty="0"/>
              <a:t>Anna Pont</a:t>
            </a:r>
          </a:p>
          <a:p>
            <a:pPr eaLnBrk="1" hangingPunct="1"/>
            <a:r>
              <a:rPr lang="en-US" altLang="en-US" sz="1000" dirty="0"/>
              <a:t>Americas </a:t>
            </a:r>
          </a:p>
          <a:p>
            <a:pPr eaLnBrk="1" hangingPunct="1"/>
            <a:r>
              <a:rPr lang="en-US" altLang="en-US" sz="1000" dirty="0"/>
              <a:t>UN-HABITAT</a:t>
            </a:r>
            <a:endParaRPr lang="en-GB" altLang="en-US" sz="1000" dirty="0"/>
          </a:p>
          <a:p>
            <a:pPr eaLnBrk="1" hangingPunct="1"/>
            <a:endParaRPr lang="en-GB" altLang="en-US" sz="1000" b="1" dirty="0"/>
          </a:p>
        </p:txBody>
      </p:sp>
      <p:sp>
        <p:nvSpPr>
          <p:cNvPr id="26650" name="Title 3"/>
          <p:cNvSpPr txBox="1">
            <a:spLocks/>
          </p:cNvSpPr>
          <p:nvPr/>
        </p:nvSpPr>
        <p:spPr bwMode="auto">
          <a:xfrm>
            <a:off x="4381260" y="3956664"/>
            <a:ext cx="1700212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000" b="1" dirty="0" err="1"/>
              <a:t>Wardell</a:t>
            </a:r>
            <a:r>
              <a:rPr lang="fr-FR" altLang="en-US" sz="1000" b="1" dirty="0"/>
              <a:t> </a:t>
            </a:r>
            <a:r>
              <a:rPr lang="fr-FR" altLang="en-US" sz="1000" b="1" dirty="0" smtClean="0"/>
              <a:t>Eastwood</a:t>
            </a:r>
            <a:endParaRPr lang="fr-FR" altLang="en-US" sz="1000" b="1" dirty="0"/>
          </a:p>
          <a:p>
            <a:pPr eaLnBrk="1" hangingPunct="1"/>
            <a:r>
              <a:rPr lang="en-US" altLang="en-US" sz="1000" dirty="0" smtClean="0"/>
              <a:t>UNHCR</a:t>
            </a:r>
            <a:endParaRPr lang="en-GB" altLang="en-US" sz="1000" dirty="0"/>
          </a:p>
          <a:p>
            <a:pPr eaLnBrk="1" hangingPunct="1"/>
            <a:endParaRPr lang="en-GB" altLang="en-US" sz="1000" b="1" dirty="0"/>
          </a:p>
        </p:txBody>
      </p:sp>
      <p:sp>
        <p:nvSpPr>
          <p:cNvPr id="26651" name="Title 3"/>
          <p:cNvSpPr txBox="1">
            <a:spLocks/>
          </p:cNvSpPr>
          <p:nvPr/>
        </p:nvSpPr>
        <p:spPr bwMode="auto">
          <a:xfrm>
            <a:off x="1879600" y="5660579"/>
            <a:ext cx="1397000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/>
              <a:t>Tom Bamforth</a:t>
            </a:r>
          </a:p>
          <a:p>
            <a:pPr eaLnBrk="1" hangingPunct="1"/>
            <a:r>
              <a:rPr lang="en-US" altLang="en-US" sz="1000"/>
              <a:t>GFP IFRC </a:t>
            </a:r>
            <a:endParaRPr lang="en-GB" altLang="en-US" sz="1000"/>
          </a:p>
          <a:p>
            <a:pPr eaLnBrk="1" hangingPunct="1"/>
            <a:endParaRPr lang="en-GB" altLang="en-US" sz="1000" b="1"/>
          </a:p>
        </p:txBody>
      </p:sp>
      <p:pic>
        <p:nvPicPr>
          <p:cNvPr id="26652" name="Picture 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9591" y="2998959"/>
            <a:ext cx="8794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5" name="Picture 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4078" y="4721002"/>
            <a:ext cx="876300" cy="1084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6" name="Picture 40" descr="bo.jp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9037" y="1183339"/>
            <a:ext cx="92392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7" name="Picture 42" descr="gregg.jp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9763" y="3046413"/>
            <a:ext cx="914400" cy="99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8" name="Picture 44" descr="tom45.jp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8175" y="4676329"/>
            <a:ext cx="835025" cy="1030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9" name="Picture 45" descr="woody.jpg"/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2248" y="2879885"/>
            <a:ext cx="923925" cy="950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Title 3"/>
          <p:cNvSpPr txBox="1">
            <a:spLocks/>
          </p:cNvSpPr>
          <p:nvPr/>
        </p:nvSpPr>
        <p:spPr bwMode="auto">
          <a:xfrm>
            <a:off x="683568" y="764704"/>
            <a:ext cx="295232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b="1" dirty="0" smtClean="0">
                <a:solidFill>
                  <a:srgbClr val="04314C"/>
                </a:solidFill>
                <a:latin typeface="Verdana" panose="020B0604030504040204" pitchFamily="34" charset="0"/>
              </a:rPr>
              <a:t>Global Cluster Coordinators</a:t>
            </a:r>
            <a:endParaRPr lang="en-GB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45" name="Title 3"/>
          <p:cNvSpPr txBox="1">
            <a:spLocks/>
          </p:cNvSpPr>
          <p:nvPr/>
        </p:nvSpPr>
        <p:spPr bwMode="auto">
          <a:xfrm>
            <a:off x="755576" y="2161232"/>
            <a:ext cx="156527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 smtClean="0"/>
              <a:t>Ela </a:t>
            </a:r>
            <a:r>
              <a:rPr lang="en-US" altLang="en-US" sz="1000" b="1" dirty="0" err="1" smtClean="0"/>
              <a:t>Serardoglu</a:t>
            </a:r>
            <a:endParaRPr lang="en-US" altLang="en-US" sz="1000" b="1" dirty="0"/>
          </a:p>
          <a:p>
            <a:pPr eaLnBrk="1" hangingPunct="1"/>
            <a:r>
              <a:rPr lang="en-US" altLang="en-US" sz="1000" dirty="0" smtClean="0"/>
              <a:t>Natural Disasters IFRC</a:t>
            </a:r>
            <a:endParaRPr lang="en-US" altLang="en-US" sz="1000" dirty="0"/>
          </a:p>
        </p:txBody>
      </p:sp>
      <p:sp>
        <p:nvSpPr>
          <p:cNvPr id="46" name="Title 3"/>
          <p:cNvSpPr txBox="1">
            <a:spLocks/>
          </p:cNvSpPr>
          <p:nvPr/>
        </p:nvSpPr>
        <p:spPr bwMode="auto">
          <a:xfrm>
            <a:off x="2286645" y="2132856"/>
            <a:ext cx="156527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 smtClean="0"/>
              <a:t>Brett Moore</a:t>
            </a:r>
            <a:endParaRPr lang="en-US" altLang="en-US" sz="1000" b="1" dirty="0"/>
          </a:p>
          <a:p>
            <a:pPr eaLnBrk="1" hangingPunct="1"/>
            <a:r>
              <a:rPr lang="en-US" altLang="en-US" sz="1000" dirty="0"/>
              <a:t>Conflict UNHCR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1510" y="4869160"/>
            <a:ext cx="1075745" cy="971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itle 3"/>
          <p:cNvSpPr txBox="1">
            <a:spLocks/>
          </p:cNvSpPr>
          <p:nvPr/>
        </p:nvSpPr>
        <p:spPr bwMode="auto">
          <a:xfrm>
            <a:off x="3044682" y="2478088"/>
            <a:ext cx="2587993" cy="47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 smtClean="0">
                <a:solidFill>
                  <a:srgbClr val="04314C"/>
                </a:solidFill>
                <a:latin typeface="Verdana" panose="020B0604030504040204" pitchFamily="34" charset="0"/>
              </a:rPr>
              <a:t>Senior Roving Coordinators</a:t>
            </a:r>
            <a:endParaRPr lang="en-US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7598" y="4802339"/>
            <a:ext cx="82867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itle 3"/>
          <p:cNvSpPr txBox="1">
            <a:spLocks/>
          </p:cNvSpPr>
          <p:nvPr/>
        </p:nvSpPr>
        <p:spPr bwMode="auto">
          <a:xfrm>
            <a:off x="2987824" y="3963020"/>
            <a:ext cx="1700212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000" b="1" dirty="0" smtClean="0"/>
              <a:t>Graham </a:t>
            </a:r>
            <a:r>
              <a:rPr lang="fr-FR" altLang="en-US" sz="1000" b="1" dirty="0" err="1" smtClean="0"/>
              <a:t>Eastmond</a:t>
            </a:r>
            <a:endParaRPr lang="fr-FR" altLang="en-US" sz="1000" b="1" dirty="0"/>
          </a:p>
          <a:p>
            <a:pPr eaLnBrk="1" hangingPunct="1"/>
            <a:r>
              <a:rPr lang="en-US" altLang="en-US" sz="1000" dirty="0" smtClean="0"/>
              <a:t>UNHCR</a:t>
            </a:r>
            <a:endParaRPr lang="en-GB" altLang="en-US" sz="1000" dirty="0"/>
          </a:p>
          <a:p>
            <a:pPr eaLnBrk="1" hangingPunct="1"/>
            <a:endParaRPr lang="en-GB" altLang="en-US" sz="1000" b="1" dirty="0"/>
          </a:p>
        </p:txBody>
      </p:sp>
      <p:sp>
        <p:nvSpPr>
          <p:cNvPr id="50" name="Title 3"/>
          <p:cNvSpPr txBox="1">
            <a:spLocks/>
          </p:cNvSpPr>
          <p:nvPr/>
        </p:nvSpPr>
        <p:spPr>
          <a:xfrm>
            <a:off x="5471540" y="3864442"/>
            <a:ext cx="1241425" cy="6318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sz="1000" b="1" dirty="0" smtClean="0"/>
              <a:t>Cecilia </a:t>
            </a:r>
            <a:r>
              <a:rPr lang="en-US" sz="1000" b="1" dirty="0" err="1" smtClean="0"/>
              <a:t>Braedt</a:t>
            </a:r>
            <a:endParaRPr lang="en-US" sz="1000" b="1" dirty="0" smtClean="0"/>
          </a:p>
          <a:p>
            <a:pPr algn="l">
              <a:defRPr/>
            </a:pPr>
            <a:r>
              <a:rPr lang="en-US" sz="1000" dirty="0" smtClean="0"/>
              <a:t>IFRC/Lux RC</a:t>
            </a:r>
            <a:endParaRPr lang="en-GB" sz="1000" dirty="0"/>
          </a:p>
          <a:p>
            <a:pPr algn="l">
              <a:defRPr/>
            </a:pPr>
            <a:endParaRPr lang="en-GB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4728" y="2929913"/>
            <a:ext cx="855662" cy="920750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52" name="Title 3"/>
          <p:cNvSpPr txBox="1">
            <a:spLocks/>
          </p:cNvSpPr>
          <p:nvPr/>
        </p:nvSpPr>
        <p:spPr>
          <a:xfrm>
            <a:off x="4627562" y="5717013"/>
            <a:ext cx="1241425" cy="6318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sz="1000" b="1" dirty="0" smtClean="0"/>
              <a:t>David </a:t>
            </a:r>
            <a:r>
              <a:rPr lang="en-US" sz="1000" b="1" dirty="0" err="1" smtClean="0"/>
              <a:t>Dalgado</a:t>
            </a:r>
            <a:endParaRPr lang="en-US" sz="1000" b="1" dirty="0" smtClean="0"/>
          </a:p>
          <a:p>
            <a:pPr algn="l">
              <a:defRPr/>
            </a:pPr>
            <a:r>
              <a:rPr lang="en-US" sz="1000" dirty="0" smtClean="0"/>
              <a:t>IFRC</a:t>
            </a:r>
            <a:endParaRPr lang="en-GB" sz="1000" dirty="0"/>
          </a:p>
          <a:p>
            <a:pPr algn="l">
              <a:defRPr/>
            </a:pPr>
            <a:endParaRPr lang="en-GB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4513" y="4824946"/>
            <a:ext cx="855662" cy="920750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139319" y="1155440"/>
            <a:ext cx="1143000" cy="1076325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39478" y="1155440"/>
            <a:ext cx="1117328" cy="10763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137620" y="2893516"/>
            <a:ext cx="781050" cy="1009650"/>
          </a:xfrm>
          <a:prstGeom prst="rect">
            <a:avLst/>
          </a:prstGeom>
        </p:spPr>
      </p:pic>
      <p:sp>
        <p:nvSpPr>
          <p:cNvPr id="56" name="Title 3"/>
          <p:cNvSpPr txBox="1">
            <a:spLocks/>
          </p:cNvSpPr>
          <p:nvPr/>
        </p:nvSpPr>
        <p:spPr bwMode="auto">
          <a:xfrm>
            <a:off x="5464770" y="2477635"/>
            <a:ext cx="2587993" cy="47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 smtClean="0">
                <a:solidFill>
                  <a:srgbClr val="04314C"/>
                </a:solidFill>
                <a:latin typeface="Verdana" panose="020B0604030504040204" pitchFamily="34" charset="0"/>
              </a:rPr>
              <a:t>Technical Coordinators</a:t>
            </a:r>
            <a:endParaRPr lang="en-US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57" name="Title 3"/>
          <p:cNvSpPr txBox="1">
            <a:spLocks/>
          </p:cNvSpPr>
          <p:nvPr/>
        </p:nvSpPr>
        <p:spPr>
          <a:xfrm>
            <a:off x="6426919" y="3864946"/>
            <a:ext cx="1241425" cy="6318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sz="1000" b="1" dirty="0" smtClean="0"/>
              <a:t>Vacant</a:t>
            </a:r>
          </a:p>
          <a:p>
            <a:pPr algn="l">
              <a:defRPr/>
            </a:pPr>
            <a:r>
              <a:rPr lang="en-US" sz="1000" dirty="0" smtClean="0"/>
              <a:t>NRC</a:t>
            </a:r>
            <a:endParaRPr lang="en-GB" sz="1000" dirty="0"/>
          </a:p>
          <a:p>
            <a:pPr algn="l">
              <a:defRPr/>
            </a:pPr>
            <a:endParaRPr lang="en-GB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30107" y="2930417"/>
            <a:ext cx="855662" cy="920750"/>
          </a:xfrm>
          <a:prstGeom prst="rect">
            <a:avLst/>
          </a:prstGeom>
          <a:solidFill>
            <a:schemeClr val="accent3"/>
          </a:solidFill>
        </p:spPr>
      </p:pic>
    </p:spTree>
    <p:extLst>
      <p:ext uri="{BB962C8B-B14F-4D97-AF65-F5344CB8AC3E}">
        <p14:creationId xmlns:p14="http://schemas.microsoft.com/office/powerpoint/2010/main" val="13324320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Clr>
                <a:srgbClr val="632523"/>
              </a:buClr>
              <a:buNone/>
            </a:pPr>
            <a:endParaRPr lang="en-US" altLang="en-US" dirty="0"/>
          </a:p>
          <a:p>
            <a:pPr marL="0" indent="0">
              <a:buClr>
                <a:srgbClr val="632523"/>
              </a:buClr>
              <a:buNone/>
            </a:pPr>
            <a:r>
              <a:rPr lang="en-US" altLang="en-US" dirty="0" smtClean="0"/>
              <a:t>New roles introduced in 2016</a:t>
            </a:r>
          </a:p>
          <a:p>
            <a:pPr marL="0" indent="0">
              <a:buClr>
                <a:srgbClr val="632523"/>
              </a:buClr>
              <a:buNone/>
            </a:pPr>
            <a:endParaRPr lang="en-US" altLang="en-US" dirty="0" smtClean="0"/>
          </a:p>
          <a:p>
            <a:pPr lvl="1">
              <a:buClr>
                <a:srgbClr val="632523"/>
              </a:buClr>
            </a:pPr>
            <a:r>
              <a:rPr lang="en-US" altLang="en-US" dirty="0" smtClean="0"/>
              <a:t>Senior Roving Cluster Coordinators: 2</a:t>
            </a:r>
          </a:p>
          <a:p>
            <a:pPr marL="457200" lvl="1" indent="0">
              <a:buClr>
                <a:srgbClr val="632523"/>
              </a:buClr>
              <a:buNone/>
            </a:pPr>
            <a:endParaRPr lang="en-US" altLang="en-US" dirty="0" smtClean="0"/>
          </a:p>
          <a:p>
            <a:pPr lvl="1">
              <a:buClr>
                <a:srgbClr val="632523"/>
              </a:buClr>
            </a:pPr>
            <a:r>
              <a:rPr lang="en-US" altLang="en-US" dirty="0" smtClean="0"/>
              <a:t>Technical Coordinators: 2</a:t>
            </a:r>
            <a:endParaRPr lang="en-US" altLang="en-US" dirty="0"/>
          </a:p>
          <a:p>
            <a:pPr>
              <a:buClr>
                <a:srgbClr val="632523"/>
              </a:buClr>
            </a:pPr>
            <a:endParaRPr lang="en-US" altLang="en-US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8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GB" dirty="0" smtClean="0"/>
              <a:t>Global Surge Capacit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5985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467544" y="1484784"/>
            <a:ext cx="7953127" cy="64807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altLang="en-US" dirty="0" smtClean="0">
                <a:latin typeface="Verdana" pitchFamily="-96" charset="0"/>
                <a:ea typeface="Verdana" pitchFamily="-96" charset="0"/>
                <a:cs typeface="Verdana" pitchFamily="-96" charset="0"/>
              </a:rPr>
              <a:t>Communities of Practice &amp; Helpdesk</a:t>
            </a:r>
            <a:r>
              <a:rPr lang="en-US" altLang="en-US" dirty="0">
                <a:latin typeface="Verdana" pitchFamily="-96" charset="0"/>
                <a:ea typeface="Verdana" pitchFamily="-96" charset="0"/>
                <a:cs typeface="Verdana" pitchFamily="-96" charset="0"/>
              </a:rPr>
              <a:t/>
            </a:r>
            <a:br>
              <a:rPr lang="en-US" altLang="en-US" dirty="0">
                <a:latin typeface="Verdana" pitchFamily="-96" charset="0"/>
                <a:ea typeface="Verdana" pitchFamily="-96" charset="0"/>
                <a:cs typeface="Verdana" pitchFamily="-96" charset="0"/>
              </a:rPr>
            </a:br>
            <a:r>
              <a:rPr lang="en-US" altLang="en-US" dirty="0" smtClean="0">
                <a:latin typeface="Verdana" pitchFamily="-96" charset="0"/>
                <a:ea typeface="Verdana" pitchFamily="-96" charset="0"/>
                <a:cs typeface="Verdana" pitchFamily="-96" charset="0"/>
              </a:rPr>
              <a:t/>
            </a:r>
            <a:br>
              <a:rPr lang="en-US" altLang="en-US" dirty="0" smtClean="0">
                <a:latin typeface="Verdana" pitchFamily="-96" charset="0"/>
                <a:ea typeface="Verdana" pitchFamily="-96" charset="0"/>
                <a:cs typeface="Verdana" pitchFamily="-96" charset="0"/>
              </a:rPr>
            </a:br>
            <a:endParaRPr lang="en-US" altLang="en-US" sz="2400" dirty="0" smtClean="0">
              <a:latin typeface="Verdana" pitchFamily="-96" charset="0"/>
              <a:ea typeface="Verdana" pitchFamily="-96" charset="0"/>
              <a:cs typeface="Verdana" pitchFamily="-96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032" y="2517626"/>
            <a:ext cx="2590800" cy="24955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07904" y="2420888"/>
            <a:ext cx="4968552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Coordin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Information Manage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Technic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Environ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Gender and Divers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Recovery</a:t>
            </a:r>
          </a:p>
          <a:p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971600" y="5664685"/>
            <a:ext cx="72728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/>
              <a:t>Helpdesk@sheltercluster.org</a:t>
            </a:r>
            <a:endParaRPr lang="en-GB" sz="3600" b="1" dirty="0"/>
          </a:p>
        </p:txBody>
      </p:sp>
    </p:spTree>
    <p:extLst>
      <p:ext uri="{BB962C8B-B14F-4D97-AF65-F5344CB8AC3E}">
        <p14:creationId xmlns:p14="http://schemas.microsoft.com/office/powerpoint/2010/main" val="13458936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Cross Cutting Issues and Inter Cluster Coordination">
  <a:themeElements>
    <a:clrScheme name="Shelter Cluster 3 Soft">
      <a:dk1>
        <a:sysClr val="windowText" lastClr="000000"/>
      </a:dk1>
      <a:lt1>
        <a:sysClr val="window" lastClr="FFFFFF"/>
      </a:lt1>
      <a:dk2>
        <a:srgbClr val="04314C"/>
      </a:dk2>
      <a:lt2>
        <a:srgbClr val="F6F6F6"/>
      </a:lt2>
      <a:accent1>
        <a:srgbClr val="365A70"/>
      </a:accent1>
      <a:accent2>
        <a:srgbClr val="FFC133"/>
      </a:accent2>
      <a:accent3>
        <a:srgbClr val="994345"/>
      </a:accent3>
      <a:accent4>
        <a:srgbClr val="84C559"/>
      </a:accent4>
      <a:accent5>
        <a:srgbClr val="FD3333"/>
      </a:accent5>
      <a:accent6>
        <a:srgbClr val="459FD5"/>
      </a:accent6>
      <a:hlink>
        <a:srgbClr val="994345"/>
      </a:hlink>
      <a:folHlink>
        <a:srgbClr val="7030A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92</TotalTime>
  <Words>697</Words>
  <Application>Microsoft Macintosh PowerPoint</Application>
  <PresentationFormat>On-screen Show (4:3)</PresentationFormat>
  <Paragraphs>203</Paragraphs>
  <Slides>1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Cross Cutting Issues and Inter Cluster Coordination</vt:lpstr>
      <vt:lpstr>Global Shelter Cluster</vt:lpstr>
      <vt:lpstr>Achievements 2015 &amp; 2016</vt:lpstr>
      <vt:lpstr>PowerPoint Presentation</vt:lpstr>
      <vt:lpstr>PowerPoint Presentation</vt:lpstr>
      <vt:lpstr>GSC Structure</vt:lpstr>
      <vt:lpstr>Strategic Advisory Group (SAG)</vt:lpstr>
      <vt:lpstr>GSC support team</vt:lpstr>
      <vt:lpstr>Global Surge Capacity</vt:lpstr>
      <vt:lpstr>Communities of Practice &amp; Helpdesk  </vt:lpstr>
      <vt:lpstr>Working Groups</vt:lpstr>
      <vt:lpstr>Cash and shelter</vt:lpstr>
      <vt:lpstr>Outputs of the GBV WG and Site Planning</vt:lpstr>
      <vt:lpstr>ShelterCaseStudies.org</vt:lpstr>
      <vt:lpstr>GSC meeting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c Aim 2 and 3</dc:title>
  <dc:creator>Timo</dc:creator>
  <cp:lastModifiedBy>Aparna Maladkar</cp:lastModifiedBy>
  <cp:revision>143</cp:revision>
  <cp:lastPrinted>2014-09-26T08:49:01Z</cp:lastPrinted>
  <dcterms:created xsi:type="dcterms:W3CDTF">2013-10-25T10:31:45Z</dcterms:created>
  <dcterms:modified xsi:type="dcterms:W3CDTF">2016-12-05T15:43:40Z</dcterms:modified>
</cp:coreProperties>
</file>